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43" r:id="rId2"/>
    <p:sldId id="387" r:id="rId3"/>
    <p:sldId id="397" r:id="rId4"/>
    <p:sldId id="314" r:id="rId5"/>
    <p:sldId id="412" r:id="rId6"/>
    <p:sldId id="414" r:id="rId7"/>
    <p:sldId id="419" r:id="rId8"/>
    <p:sldId id="420" r:id="rId9"/>
    <p:sldId id="418" r:id="rId10"/>
    <p:sldId id="417" r:id="rId11"/>
    <p:sldId id="370" r:id="rId12"/>
    <p:sldId id="398" r:id="rId13"/>
    <p:sldId id="405" r:id="rId14"/>
    <p:sldId id="402" r:id="rId15"/>
    <p:sldId id="425" r:id="rId16"/>
    <p:sldId id="424" r:id="rId17"/>
    <p:sldId id="423" r:id="rId18"/>
    <p:sldId id="422" r:id="rId19"/>
  </p:sldIdLst>
  <p:sldSz cx="12192000" cy="6858000"/>
  <p:notesSz cx="6811963" cy="9942513"/>
  <p:custDataLst>
    <p:tags r:id="rId22"/>
  </p:custDataLst>
  <p:defaultTextStyle>
    <a:defPPr>
      <a:defRPr lang="de-DE"/>
    </a:defPPr>
    <a:lvl1pPr algn="ctr" defTabSz="457109" rtl="0" fontAlgn="base">
      <a:spcBef>
        <a:spcPct val="0"/>
      </a:spcBef>
      <a:spcAft>
        <a:spcPct val="0"/>
      </a:spcAft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109" algn="ctr" defTabSz="457109" rtl="0" fontAlgn="base">
      <a:spcBef>
        <a:spcPct val="0"/>
      </a:spcBef>
      <a:spcAft>
        <a:spcPct val="0"/>
      </a:spcAft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218" algn="ctr" defTabSz="457109" rtl="0" fontAlgn="base">
      <a:spcBef>
        <a:spcPct val="0"/>
      </a:spcBef>
      <a:spcAft>
        <a:spcPct val="0"/>
      </a:spcAft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326" algn="ctr" defTabSz="457109" rtl="0" fontAlgn="base">
      <a:spcBef>
        <a:spcPct val="0"/>
      </a:spcBef>
      <a:spcAft>
        <a:spcPct val="0"/>
      </a:spcAft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434" algn="ctr" defTabSz="457109" rtl="0" fontAlgn="base">
      <a:spcBef>
        <a:spcPct val="0"/>
      </a:spcBef>
      <a:spcAft>
        <a:spcPct val="0"/>
      </a:spcAft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5543" algn="l" defTabSz="914218" rtl="0" eaLnBrk="1" latinLnBrk="0" hangingPunct="1"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2651" algn="l" defTabSz="914218" rtl="0" eaLnBrk="1" latinLnBrk="0" hangingPunct="1"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199759" algn="l" defTabSz="914218" rtl="0" eaLnBrk="1" latinLnBrk="0" hangingPunct="1"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6869" algn="l" defTabSz="914218" rtl="0" eaLnBrk="1" latinLnBrk="0" hangingPunct="1">
      <a:defRPr sz="1999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3EFC43"/>
    <a:srgbClr val="333333"/>
    <a:srgbClr val="00A0DB"/>
    <a:srgbClr val="BFDBFD"/>
    <a:srgbClr val="AED1FC"/>
    <a:srgbClr val="A3CBFB"/>
    <a:srgbClr val="0A74F4"/>
    <a:srgbClr val="889F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18" autoAdjust="0"/>
    <p:restoredTop sz="95263" autoAdjust="0"/>
  </p:normalViewPr>
  <p:slideViewPr>
    <p:cSldViewPr snapToObjects="1">
      <p:cViewPr varScale="1">
        <p:scale>
          <a:sx n="70" d="100"/>
          <a:sy n="70" d="100"/>
        </p:scale>
        <p:origin x="534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Objects="1">
      <p:cViewPr varScale="1">
        <p:scale>
          <a:sx n="80" d="100"/>
          <a:sy n="80" d="100"/>
        </p:scale>
        <p:origin x="405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850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/>
            </a:lvl1pPr>
          </a:lstStyle>
          <a:p>
            <a:endParaRPr lang="de-CH" altLang="fr-FR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8537" y="0"/>
            <a:ext cx="2951850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83E9BE96-422D-460E-8BC8-6FCE5F6805C8}" type="datetime1">
              <a:rPr lang="de-CH" altLang="fr-FR"/>
              <a:pPr/>
              <a:t>30.10.2020</a:t>
            </a:fld>
            <a:endParaRPr lang="de-CH" altLang="fr-FR"/>
          </a:p>
        </p:txBody>
      </p:sp>
      <p:sp>
        <p:nvSpPr>
          <p:cNvPr id="1136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3661"/>
            <a:ext cx="2951850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/>
            </a:lvl1pPr>
          </a:lstStyle>
          <a:p>
            <a:endParaRPr lang="de-CH" altLang="fr-FR"/>
          </a:p>
        </p:txBody>
      </p:sp>
      <p:sp>
        <p:nvSpPr>
          <p:cNvPr id="1136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8537" y="9443661"/>
            <a:ext cx="2951850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4ED79B5F-F3D4-4A6F-95B7-C76B70D8A91A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3315033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0" cy="497126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en-GB" alt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7" y="0"/>
            <a:ext cx="2951850" cy="497126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F565BD05-2B86-4385-8850-6992DDB54105}" type="datetime1">
              <a:rPr lang="de-CH" altLang="fr-FR"/>
              <a:pPr/>
              <a:t>30.10.2020</a:t>
            </a:fld>
            <a:endParaRPr lang="de-CH" altLang="fr-FR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2309" tIns="46154" rIns="92309" bIns="46154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22694"/>
            <a:ext cx="5449570" cy="4474131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CH" altLang="fr-FR"/>
              <a:t>Textmasterformate durch Klicken bearbeiten</a:t>
            </a:r>
          </a:p>
          <a:p>
            <a:pPr lvl="1"/>
            <a:r>
              <a:rPr lang="de-CH" altLang="fr-FR"/>
              <a:t>Zweite Ebene</a:t>
            </a:r>
          </a:p>
          <a:p>
            <a:pPr lvl="2"/>
            <a:r>
              <a:rPr lang="de-CH" altLang="fr-FR"/>
              <a:t>Dritte Ebene</a:t>
            </a:r>
          </a:p>
          <a:p>
            <a:pPr lvl="3"/>
            <a:r>
              <a:rPr lang="de-CH" altLang="fr-FR"/>
              <a:t>Vierte Ebene</a:t>
            </a:r>
          </a:p>
          <a:p>
            <a:pPr lvl="4"/>
            <a:r>
              <a:rPr lang="de-CH" altLang="fr-FR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1"/>
            <a:ext cx="2951850" cy="497126"/>
          </a:xfrm>
          <a:prstGeom prst="rect">
            <a:avLst/>
          </a:prstGeom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en-GB" altLang="fr-FR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7" y="9443661"/>
            <a:ext cx="2951850" cy="497126"/>
          </a:xfrm>
          <a:prstGeom prst="rect">
            <a:avLst/>
          </a:prstGeom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5A28C9FD-662B-47C0-8F2D-474941C6797F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4121238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10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21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32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43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5543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51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59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fr-FR" dirty="0"/>
          </a:p>
        </p:txBody>
      </p:sp>
    </p:spTree>
    <p:extLst>
      <p:ext uri="{BB962C8B-B14F-4D97-AF65-F5344CB8AC3E}">
        <p14:creationId xmlns:p14="http://schemas.microsoft.com/office/powerpoint/2010/main" val="1478866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1700580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3502133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25907968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altLang="fr-FR"/>
          </a:p>
        </p:txBody>
      </p:sp>
    </p:spTree>
    <p:extLst>
      <p:ext uri="{BB962C8B-B14F-4D97-AF65-F5344CB8AC3E}">
        <p14:creationId xmlns:p14="http://schemas.microsoft.com/office/powerpoint/2010/main" val="2610153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altLang="fr-FR"/>
          </a:p>
        </p:txBody>
      </p:sp>
    </p:spTree>
    <p:extLst>
      <p:ext uri="{BB962C8B-B14F-4D97-AF65-F5344CB8AC3E}">
        <p14:creationId xmlns:p14="http://schemas.microsoft.com/office/powerpoint/2010/main" val="2328529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87794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3922763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.jpe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8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7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29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7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8852" name="Rectangle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2" y="7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30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7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Title Placehold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607484" y="1546231"/>
            <a:ext cx="10363200" cy="589905"/>
          </a:xfrm>
        </p:spPr>
        <p:txBody>
          <a:bodyPr/>
          <a:lstStyle>
            <a:lvl1pPr>
              <a:lnSpc>
                <a:spcPts val="4554"/>
              </a:lnSpc>
              <a:defRPr smtClean="0">
                <a:latin typeface="Arial" charset="0"/>
              </a:defRPr>
            </a:lvl1pPr>
          </a:lstStyle>
          <a:p>
            <a:pPr lvl="0"/>
            <a:r>
              <a:rPr lang="fr-FR" altLang="fr-FR" noProof="0"/>
              <a:t>Modifiez le style du titre</a:t>
            </a:r>
            <a:endParaRPr lang="de-CH" altLang="fr-FR" noProof="0" dirty="0"/>
          </a:p>
        </p:txBody>
      </p:sp>
      <p:sp>
        <p:nvSpPr>
          <p:cNvPr id="78854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7484" y="3562355"/>
            <a:ext cx="8534400" cy="340863"/>
          </a:xfrm>
        </p:spPr>
        <p:txBody>
          <a:bodyPr/>
          <a:lstStyle>
            <a:lvl1pPr marL="0" indent="0">
              <a:defRPr sz="2215" smtClean="0">
                <a:latin typeface="Arial" charset="0"/>
              </a:defRPr>
            </a:lvl1pPr>
          </a:lstStyle>
          <a:p>
            <a:pPr lvl="0"/>
            <a:r>
              <a:rPr lang="fr-FR" altLang="fr-FR" noProof="0"/>
              <a:t>Modifiez le style des sous-titres du masque</a:t>
            </a:r>
            <a:endParaRPr lang="de-CH" altLang="fr-FR" noProof="0"/>
          </a:p>
        </p:txBody>
      </p:sp>
      <p:pic>
        <p:nvPicPr>
          <p:cNvPr id="78863" name="Picture 12" descr="logo_etat_FR_vers_compacte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22" y="417515"/>
            <a:ext cx="2112433" cy="60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8"/>
          <p:cNvSpPr txBox="1"/>
          <p:nvPr>
            <p:custDataLst>
              <p:tags r:id="rId7"/>
            </p:custDataLst>
          </p:nvPr>
        </p:nvSpPr>
        <p:spPr>
          <a:xfrm>
            <a:off x="3352804" y="363541"/>
            <a:ext cx="6885518" cy="41748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 eaLnBrk="1" hangingPunct="1">
              <a:lnSpc>
                <a:spcPts val="1662"/>
              </a:lnSpc>
              <a:buClr>
                <a:srgbClr val="074EA1"/>
              </a:buClr>
            </a:pPr>
            <a:r>
              <a:rPr lang="fr-CH" altLang="fr-FR" sz="1231" b="1" dirty="0"/>
              <a:t>Service des constructions et de l'aménagement </a:t>
            </a:r>
            <a:r>
              <a:rPr lang="fr-CH" altLang="fr-FR" sz="1231" b="0" dirty="0"/>
              <a:t>SeCA</a:t>
            </a:r>
          </a:p>
          <a:p>
            <a:pPr algn="l" eaLnBrk="1" hangingPunct="1">
              <a:lnSpc>
                <a:spcPts val="1662"/>
              </a:lnSpc>
              <a:buClr>
                <a:srgbClr val="074EA1"/>
              </a:buClr>
            </a:pPr>
            <a:r>
              <a:rPr lang="fr-CH" altLang="fr-FR" sz="1231" b="1" dirty="0"/>
              <a:t>Bau- </a:t>
            </a:r>
            <a:r>
              <a:rPr lang="fr-CH" altLang="fr-FR" sz="1231" b="1" dirty="0" err="1"/>
              <a:t>und</a:t>
            </a:r>
            <a:r>
              <a:rPr lang="fr-CH" altLang="fr-FR" sz="1231" b="1" dirty="0"/>
              <a:t> </a:t>
            </a:r>
            <a:r>
              <a:rPr lang="fr-CH" altLang="fr-FR" sz="1231" b="1" dirty="0" err="1"/>
              <a:t>Raumplanungsamt</a:t>
            </a:r>
            <a:r>
              <a:rPr lang="fr-CH" altLang="fr-FR" sz="1231" b="1" dirty="0"/>
              <a:t> </a:t>
            </a:r>
            <a:r>
              <a:rPr lang="fr-CH" altLang="fr-FR" sz="1231" b="0" dirty="0"/>
              <a:t>BRPA</a:t>
            </a:r>
          </a:p>
        </p:txBody>
      </p:sp>
      <p:cxnSp>
        <p:nvCxnSpPr>
          <p:cNvPr id="17" name="Straight Connector 7"/>
          <p:cNvCxnSpPr/>
          <p:nvPr>
            <p:custDataLst>
              <p:tags r:id="rId8"/>
            </p:custDataLst>
          </p:nvPr>
        </p:nvCxnSpPr>
        <p:spPr>
          <a:xfrm>
            <a:off x="599020" y="1263653"/>
            <a:ext cx="10993967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9"/>
          <p:cNvSpPr txBox="1"/>
          <p:nvPr>
            <p:custDataLst>
              <p:tags r:id="rId9"/>
            </p:custDataLst>
          </p:nvPr>
        </p:nvSpPr>
        <p:spPr>
          <a:xfrm>
            <a:off x="624424" y="6148394"/>
            <a:ext cx="7139516" cy="6002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 eaLnBrk="1" hangingPunct="1">
              <a:lnSpc>
                <a:spcPts val="1600"/>
              </a:lnSpc>
              <a:buClr>
                <a:srgbClr val="074EA1"/>
              </a:buClr>
            </a:pPr>
            <a:r>
              <a:rPr lang="fr-CH" altLang="fr-FR" sz="1231" dirty="0"/>
              <a:t>—</a:t>
            </a:r>
          </a:p>
          <a:p>
            <a:pPr algn="l" eaLnBrk="1" hangingPunct="1">
              <a:lnSpc>
                <a:spcPts val="1600"/>
              </a:lnSpc>
              <a:buClr>
                <a:srgbClr val="074EA1"/>
              </a:buClr>
            </a:pPr>
            <a:r>
              <a:rPr lang="fr-CH" altLang="fr-FR" sz="1231" dirty="0"/>
              <a:t>Direction de l'aménagement, de l'environnement et des constructions </a:t>
            </a:r>
            <a:r>
              <a:rPr lang="fr-CH" altLang="fr-FR" sz="1231" b="1" dirty="0"/>
              <a:t>DAEC</a:t>
            </a:r>
          </a:p>
          <a:p>
            <a:pPr algn="l" eaLnBrk="1" hangingPunct="1">
              <a:lnSpc>
                <a:spcPts val="1600"/>
              </a:lnSpc>
              <a:buClr>
                <a:srgbClr val="074EA1"/>
              </a:buClr>
            </a:pPr>
            <a:r>
              <a:rPr lang="fr-CH" altLang="fr-FR" sz="1231" dirty="0" err="1"/>
              <a:t>Raumplanungs</a:t>
            </a:r>
            <a:r>
              <a:rPr lang="fr-CH" altLang="fr-FR" sz="1231" dirty="0"/>
              <a:t>-, </a:t>
            </a:r>
            <a:r>
              <a:rPr lang="fr-CH" altLang="fr-FR" sz="1231" dirty="0" err="1"/>
              <a:t>Umwelt</a:t>
            </a:r>
            <a:r>
              <a:rPr lang="fr-CH" altLang="fr-FR" sz="1231" dirty="0"/>
              <a:t>- </a:t>
            </a:r>
            <a:r>
              <a:rPr lang="fr-CH" altLang="fr-FR" sz="1231" dirty="0" err="1"/>
              <a:t>und</a:t>
            </a:r>
            <a:r>
              <a:rPr lang="fr-CH" altLang="fr-FR" sz="1231" dirty="0"/>
              <a:t> </a:t>
            </a:r>
            <a:r>
              <a:rPr lang="fr-CH" altLang="fr-FR" sz="1231" dirty="0" err="1"/>
              <a:t>Baudirektion</a:t>
            </a:r>
            <a:r>
              <a:rPr lang="fr-CH" altLang="fr-FR" sz="1231" dirty="0"/>
              <a:t> </a:t>
            </a:r>
            <a:r>
              <a:rPr lang="fr-CH" altLang="fr-FR" sz="1231" b="1" dirty="0"/>
              <a:t>RUBD</a:t>
            </a:r>
            <a:endParaRPr lang="fr-CH" altLang="fr-FR" sz="1231" dirty="0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BB4512-652A-4340-A616-9FC9AEA39D92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2152555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04810"/>
            <a:ext cx="10989733" cy="60619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6"/>
            <a:ext cx="10989733" cy="225350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AE29512-B6A7-46F5-9D8B-BBC9D5813600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2488928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EA715AC-9A36-4811-9763-0D0847DCAB00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3747319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304809"/>
            <a:ext cx="10989733" cy="225350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DE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9E14310-C3B5-48BC-A133-1A2B48515B63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1137877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04810"/>
            <a:ext cx="10989733" cy="60619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2" y="1371609"/>
            <a:ext cx="5393266" cy="2934842"/>
          </a:xfr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06071" y="1371609"/>
            <a:ext cx="5393266" cy="2934842"/>
          </a:xfr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8765118" y="6494464"/>
            <a:ext cx="2844800" cy="189411"/>
          </a:xfrm>
        </p:spPr>
        <p:txBody>
          <a:bodyPr/>
          <a:lstStyle>
            <a:lvl1pPr>
              <a:defRPr/>
            </a:lvl1pPr>
          </a:lstStyle>
          <a:p>
            <a:fld id="{3486D71B-3986-4E9C-B397-33AA8EA4909D}" type="slidenum">
              <a:rPr lang="de-CH" altLang="fr-FR"/>
              <a:pPr/>
              <a:t>‹N°›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1165155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2" y="7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7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ctangle 9"/>
          <p:cNvSpPr>
            <a:spLocks noGrp="1" noChangeArrowheads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8765118" y="6494464"/>
            <a:ext cx="2844800" cy="18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231"/>
            </a:lvl1pPr>
          </a:lstStyle>
          <a:p>
            <a:fld id="{D39A02A8-2D75-4170-98A1-D10C37435638}" type="slidenum">
              <a:rPr lang="de-CH" altLang="fr-FR"/>
              <a:pPr/>
              <a:t>‹N°›</a:t>
            </a:fld>
            <a:endParaRPr lang="de-CH" altLang="fr-FR"/>
          </a:p>
        </p:txBody>
      </p:sp>
      <p:graphicFrame>
        <p:nvGraphicFramePr>
          <p:cNvPr id="1027" name="Rectangle 3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2" y="7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7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609600" y="304811"/>
            <a:ext cx="10989733" cy="1212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altLang="fr-FR"/>
              <a:t>Titre exemple</a:t>
            </a:r>
            <a:br>
              <a:rPr lang="fr-CH" altLang="fr-FR"/>
            </a:br>
            <a:r>
              <a:rPr lang="fr-CH" altLang="fr-FR"/>
              <a:t>—</a:t>
            </a:r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609600" y="1371606"/>
            <a:ext cx="10989733" cy="2253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altLang="fr-FR"/>
              <a:t>Texte principal</a:t>
            </a:r>
          </a:p>
          <a:p>
            <a:pPr lvl="1"/>
            <a:r>
              <a:rPr lang="fr-CH" altLang="fr-FR"/>
              <a:t>Premier niveau</a:t>
            </a:r>
          </a:p>
          <a:p>
            <a:pPr lvl="2"/>
            <a:r>
              <a:rPr lang="fr-CH" altLang="fr-FR"/>
              <a:t>Deuxième niveau</a:t>
            </a:r>
          </a:p>
          <a:p>
            <a:pPr lvl="3"/>
            <a:r>
              <a:rPr lang="fr-CH" altLang="fr-FR"/>
              <a:t>Troisième niveau</a:t>
            </a:r>
          </a:p>
          <a:p>
            <a:pPr lvl="4"/>
            <a:r>
              <a:rPr lang="fr-CH" altLang="fr-FR"/>
              <a:t>Quatrième niveau</a:t>
            </a:r>
          </a:p>
        </p:txBody>
      </p:sp>
      <p:cxnSp>
        <p:nvCxnSpPr>
          <p:cNvPr id="14" name="Straight Connector 13"/>
          <p:cNvCxnSpPr/>
          <p:nvPr>
            <p:custDataLst>
              <p:tags r:id="rId14"/>
            </p:custDataLst>
          </p:nvPr>
        </p:nvCxnSpPr>
        <p:spPr>
          <a:xfrm>
            <a:off x="599020" y="6191253"/>
            <a:ext cx="10993967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0" r:id="rId2"/>
    <p:sldLayoutId id="2147483659" r:id="rId3"/>
    <p:sldLayoutId id="2147483658" r:id="rId4"/>
    <p:sldLayoutId id="2147483657" r:id="rId5"/>
    <p:sldLayoutId id="2147483661" r:id="rId6"/>
  </p:sldLayoutIdLst>
  <p:hf hdr="0" ftr="0" dt="0"/>
  <p:txStyles>
    <p:titleStyle>
      <a:lvl1pPr algn="l" defTabSz="562737" rtl="0" eaLnBrk="1" fontAlgn="base" hangingPunct="1">
        <a:spcBef>
          <a:spcPct val="0"/>
        </a:spcBef>
        <a:spcAft>
          <a:spcPct val="0"/>
        </a:spcAft>
        <a:defRPr lang="de-DE" sz="3939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562737"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1125472"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688207"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2250944" algn="l" defTabSz="562737" rtl="0" eaLnBrk="1" fontAlgn="base" hangingPunct="1">
        <a:spcBef>
          <a:spcPct val="0"/>
        </a:spcBef>
        <a:spcAft>
          <a:spcPct val="0"/>
        </a:spcAft>
        <a:defRPr sz="3939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422051" indent="-422051" algn="l" defTabSz="562737" rtl="0" eaLnBrk="1" fontAlgn="base" hangingPunct="1">
        <a:spcBef>
          <a:spcPct val="0"/>
        </a:spcBef>
        <a:spcAft>
          <a:spcPts val="738"/>
        </a:spcAft>
        <a:buClr>
          <a:srgbClr val="074EA1"/>
        </a:buClr>
        <a:buFont typeface="Lucida Grande" pitchFamily="-112" charset="0"/>
        <a:defRPr sz="2462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336079" indent="-334125" algn="l" defTabSz="562737" rtl="0" eaLnBrk="1" fontAlgn="base" hangingPunct="1">
        <a:spcBef>
          <a:spcPct val="0"/>
        </a:spcBef>
        <a:spcAft>
          <a:spcPts val="738"/>
        </a:spcAft>
        <a:buClr>
          <a:schemeClr val="tx1"/>
        </a:buClr>
        <a:buSzPct val="100000"/>
        <a:buFont typeface="Arial" charset="0"/>
        <a:buChar char="&gt;"/>
        <a:defRPr sz="2462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664340" indent="-326310" algn="l" defTabSz="562737" rtl="0" eaLnBrk="1" fontAlgn="base" hangingPunct="1">
        <a:spcBef>
          <a:spcPct val="0"/>
        </a:spcBef>
        <a:spcAft>
          <a:spcPts val="738"/>
        </a:spcAft>
        <a:buSzPct val="100000"/>
        <a:buFont typeface="Arial" charset="0"/>
        <a:buChar char="&gt;"/>
        <a:defRPr sz="2462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988695" indent="-322401" algn="l" defTabSz="562737" rtl="0" eaLnBrk="1" fontAlgn="base" hangingPunct="1">
        <a:spcBef>
          <a:spcPct val="0"/>
        </a:spcBef>
        <a:spcAft>
          <a:spcPts val="738"/>
        </a:spcAft>
        <a:buClr>
          <a:srgbClr val="7F7F7F"/>
        </a:buClr>
        <a:buSzPct val="100000"/>
        <a:buFont typeface="Arial" charset="0"/>
        <a:buChar char="&gt;"/>
        <a:defRPr sz="2462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324774" indent="-334125" algn="l" defTabSz="562737" rtl="0" eaLnBrk="1" fontAlgn="base" hangingPunct="1">
        <a:spcBef>
          <a:spcPct val="0"/>
        </a:spcBef>
        <a:spcAft>
          <a:spcPts val="738"/>
        </a:spcAft>
        <a:buClr>
          <a:srgbClr val="7F7F7F"/>
        </a:buClr>
        <a:buSzPct val="100000"/>
        <a:buFont typeface="Arial" charset="0"/>
        <a:buChar char="&gt;"/>
        <a:defRPr sz="2462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3095047" indent="-281368" algn="l" defTabSz="562737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indent="-281368" algn="l" defTabSz="562737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519" indent="-281368" algn="l" defTabSz="562737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254" indent="-281368" algn="l" defTabSz="562737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562737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jpg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4" Type="http://schemas.openxmlformats.org/officeDocument/2006/relationships/image" Target="../media/image12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8.xml"/><Relationship Id="rId9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4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.xml"/><Relationship Id="rId9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44.xml"/><Relationship Id="rId9" Type="http://schemas.openxmlformats.org/officeDocument/2006/relationships/image" Target="../media/image1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46.xml"/><Relationship Id="rId7" Type="http://schemas.openxmlformats.org/officeDocument/2006/relationships/oleObject" Target="../embeddings/oleObject15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7.emf"/><Relationship Id="rId4" Type="http://schemas.openxmlformats.org/officeDocument/2006/relationships/tags" Target="../tags/tag47.xml"/><Relationship Id="rId9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oleObject" Target="../embeddings/oleObject7.bin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3.jpg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4" Type="http://schemas.openxmlformats.org/officeDocument/2006/relationships/image" Target="../media/image1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16A4FC-7FAA-492F-91BF-18C63F3C30BC}"/>
              </a:ext>
            </a:extLst>
          </p:cNvPr>
          <p:cNvSpPr/>
          <p:nvPr/>
        </p:nvSpPr>
        <p:spPr>
          <a:xfrm>
            <a:off x="664309" y="6619508"/>
            <a:ext cx="10926457" cy="97487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03D543E5-47E7-4766-A985-90D07AACA290}" type="slidenum">
              <a:rPr lang="de-CH" altLang="fr-FR"/>
              <a:pPr/>
              <a:t>1</a:t>
            </a:fld>
            <a:endParaRPr lang="de-CH" altLang="fr-FR"/>
          </a:p>
        </p:txBody>
      </p:sp>
      <p:graphicFrame>
        <p:nvGraphicFramePr>
          <p:cNvPr id="1331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BE2C1F68-4D6C-416A-B96A-2E756050958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/>
          </a:blip>
          <a:srcRect l="-127" t="8078" r="428" b="11947"/>
          <a:stretch/>
        </p:blipFill>
        <p:spPr>
          <a:xfrm>
            <a:off x="-107766" y="-791308"/>
            <a:ext cx="12299766" cy="8440615"/>
          </a:xfrm>
          <a:prstGeom prst="rect">
            <a:avLst/>
          </a:prstGeom>
          <a:effectLst>
            <a:glow>
              <a:schemeClr val="accent1"/>
            </a:glo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76C6FCE-936E-47A6-BA27-72F84CDDAB68}"/>
              </a:ext>
            </a:extLst>
          </p:cNvPr>
          <p:cNvSpPr/>
          <p:nvPr/>
        </p:nvSpPr>
        <p:spPr>
          <a:xfrm>
            <a:off x="7957131" y="3872135"/>
            <a:ext cx="4254011" cy="3784201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1E83A5-57ED-4203-A545-CE847D1BB40E}"/>
              </a:ext>
            </a:extLst>
          </p:cNvPr>
          <p:cNvSpPr/>
          <p:nvPr/>
        </p:nvSpPr>
        <p:spPr>
          <a:xfrm>
            <a:off x="7525184" y="5577706"/>
            <a:ext cx="431946" cy="86456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2A77B3-65AA-4724-9083-EC7FD88F1742}"/>
              </a:ext>
            </a:extLst>
          </p:cNvPr>
          <p:cNvSpPr/>
          <p:nvPr/>
        </p:nvSpPr>
        <p:spPr>
          <a:xfrm>
            <a:off x="7525184" y="4791535"/>
            <a:ext cx="431946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AE8078-EDB9-4A8F-B90E-08CB393301B1}"/>
              </a:ext>
            </a:extLst>
          </p:cNvPr>
          <p:cNvSpPr/>
          <p:nvPr/>
        </p:nvSpPr>
        <p:spPr>
          <a:xfrm>
            <a:off x="8908445" y="3494703"/>
            <a:ext cx="431946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AAFEDB-719E-47F3-A42F-A17EF5BAE586}"/>
              </a:ext>
            </a:extLst>
          </p:cNvPr>
          <p:cNvSpPr/>
          <p:nvPr/>
        </p:nvSpPr>
        <p:spPr>
          <a:xfrm>
            <a:off x="8476500" y="3118157"/>
            <a:ext cx="431946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7B1F90-6B1D-4AE9-A752-575C98338725}"/>
              </a:ext>
            </a:extLst>
          </p:cNvPr>
          <p:cNvSpPr/>
          <p:nvPr/>
        </p:nvSpPr>
        <p:spPr>
          <a:xfrm>
            <a:off x="8908445" y="3114917"/>
            <a:ext cx="431946" cy="379001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39AAB1-8BFD-4FED-9301-C62164CE3D73}"/>
              </a:ext>
            </a:extLst>
          </p:cNvPr>
          <p:cNvSpPr/>
          <p:nvPr/>
        </p:nvSpPr>
        <p:spPr>
          <a:xfrm>
            <a:off x="9340391" y="3116839"/>
            <a:ext cx="431946" cy="376646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49A3007-58DA-4068-BC9B-A0AB78216C65}"/>
              </a:ext>
            </a:extLst>
          </p:cNvPr>
          <p:cNvSpPr/>
          <p:nvPr/>
        </p:nvSpPr>
        <p:spPr>
          <a:xfrm>
            <a:off x="9340391" y="3495587"/>
            <a:ext cx="431946" cy="376539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471AAF6-2D4F-438D-875B-7E55EC7A0810}"/>
              </a:ext>
            </a:extLst>
          </p:cNvPr>
          <p:cNvSpPr/>
          <p:nvPr/>
        </p:nvSpPr>
        <p:spPr>
          <a:xfrm>
            <a:off x="9772337" y="3495587"/>
            <a:ext cx="431946" cy="376539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52AA72C-405B-4D3A-9580-87C77DC9F5AC}"/>
              </a:ext>
            </a:extLst>
          </p:cNvPr>
          <p:cNvSpPr/>
          <p:nvPr/>
        </p:nvSpPr>
        <p:spPr>
          <a:xfrm>
            <a:off x="10204283" y="3495595"/>
            <a:ext cx="930974" cy="379002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38640C-D726-4CD8-8FB3-DB226FC4F515}"/>
              </a:ext>
            </a:extLst>
          </p:cNvPr>
          <p:cNvSpPr/>
          <p:nvPr/>
        </p:nvSpPr>
        <p:spPr>
          <a:xfrm>
            <a:off x="10201215" y="3118158"/>
            <a:ext cx="1990793" cy="375321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162F0D-FA61-45BE-B4C6-BCEEFAEEE045}"/>
              </a:ext>
            </a:extLst>
          </p:cNvPr>
          <p:cNvSpPr/>
          <p:nvPr/>
        </p:nvSpPr>
        <p:spPr>
          <a:xfrm>
            <a:off x="10639648" y="2742299"/>
            <a:ext cx="929164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F9021D-2102-4FC1-B919-A31518AAA887}"/>
              </a:ext>
            </a:extLst>
          </p:cNvPr>
          <p:cNvSpPr/>
          <p:nvPr/>
        </p:nvSpPr>
        <p:spPr>
          <a:xfrm>
            <a:off x="7525184" y="3873017"/>
            <a:ext cx="431946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2C97FF-8B3B-4850-9F72-109EFA3ABBD3}"/>
              </a:ext>
            </a:extLst>
          </p:cNvPr>
          <p:cNvSpPr/>
          <p:nvPr/>
        </p:nvSpPr>
        <p:spPr>
          <a:xfrm>
            <a:off x="8223005" y="3568194"/>
            <a:ext cx="10926457" cy="263527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fr-CH" altLang="fr-FR" sz="4431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rly</a:t>
            </a:r>
          </a:p>
          <a:p>
            <a:pPr algn="l">
              <a:lnSpc>
                <a:spcPct val="200000"/>
              </a:lnSpc>
            </a:pPr>
            <a:r>
              <a:rPr lang="fr-CH" altLang="fr-FR" sz="1477" b="1" dirty="0"/>
              <a:t>Révision générale du PAL  </a:t>
            </a:r>
          </a:p>
          <a:p>
            <a:pPr algn="l">
              <a:lnSpc>
                <a:spcPct val="150000"/>
              </a:lnSpc>
            </a:pPr>
            <a:r>
              <a:rPr lang="fr-CH" sz="2460" b="1" dirty="0"/>
              <a:t>Conseil Général</a:t>
            </a:r>
          </a:p>
          <a:p>
            <a:pPr algn="l">
              <a:lnSpc>
                <a:spcPct val="150000"/>
              </a:lnSpc>
            </a:pPr>
            <a:r>
              <a:rPr lang="fr-CH" sz="2460" b="1" dirty="0"/>
              <a:t>14 octobre 202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F25FFD7-2D85-4E9D-8E43-F16BD5E3B182}"/>
              </a:ext>
            </a:extLst>
          </p:cNvPr>
          <p:cNvSpPr/>
          <p:nvPr/>
        </p:nvSpPr>
        <p:spPr>
          <a:xfrm>
            <a:off x="11135257" y="3493487"/>
            <a:ext cx="431946" cy="381111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88784D2-A827-4A1E-BABC-28029690B03C}"/>
              </a:ext>
            </a:extLst>
          </p:cNvPr>
          <p:cNvSpPr/>
          <p:nvPr/>
        </p:nvSpPr>
        <p:spPr>
          <a:xfrm>
            <a:off x="7093238" y="6063915"/>
            <a:ext cx="431946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4D11171-16FE-4BCD-9CFE-79638D14C42D}"/>
              </a:ext>
            </a:extLst>
          </p:cNvPr>
          <p:cNvSpPr/>
          <p:nvPr/>
        </p:nvSpPr>
        <p:spPr>
          <a:xfrm>
            <a:off x="7525184" y="6442257"/>
            <a:ext cx="431946" cy="377430"/>
          </a:xfrm>
          <a:prstGeom prst="rect">
            <a:avLst/>
          </a:prstGeom>
          <a:solidFill>
            <a:schemeClr val="accent1">
              <a:alpha val="62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5C5BEF9-BF3C-4F61-829D-16ECD389331B}"/>
              </a:ext>
            </a:extLst>
          </p:cNvPr>
          <p:cNvSpPr/>
          <p:nvPr/>
        </p:nvSpPr>
        <p:spPr>
          <a:xfrm>
            <a:off x="1343472" y="4581128"/>
            <a:ext cx="10513168" cy="182839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33EF5E6-A9CC-43DF-ABF2-88C46D9351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10</a:t>
            </a:fld>
            <a:endParaRPr lang="de-CH" altLang="fr-FR"/>
          </a:p>
        </p:txBody>
      </p:sp>
      <p:pic>
        <p:nvPicPr>
          <p:cNvPr id="3" name="Image 2" descr="Une image contenant table&#10;&#10;Description générée automatiquement">
            <a:extLst>
              <a:ext uri="{FF2B5EF4-FFF2-40B4-BE49-F238E27FC236}">
                <a16:creationId xmlns:a16="http://schemas.microsoft.com/office/drawing/2014/main" id="{737BA8A3-F5EF-4295-BCAD-317106D06D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153089"/>
            <a:ext cx="4655840" cy="6057049"/>
          </a:xfrm>
          <a:prstGeom prst="rect">
            <a:avLst/>
          </a:prstGeom>
        </p:spPr>
      </p:pic>
      <p:pic>
        <p:nvPicPr>
          <p:cNvPr id="10" name="Image 9" descr="Une image contenant table&#10;&#10;Description générée automatiquement">
            <a:extLst>
              <a:ext uri="{FF2B5EF4-FFF2-40B4-BE49-F238E27FC236}">
                <a16:creationId xmlns:a16="http://schemas.microsoft.com/office/drawing/2014/main" id="{97C19A86-48E6-4F67-9866-B89364D97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6840" y="468295"/>
            <a:ext cx="4379529" cy="6057049"/>
          </a:xfrm>
          <a:prstGeom prst="rect">
            <a:avLst/>
          </a:prstGeom>
        </p:spPr>
      </p:pic>
      <p:sp>
        <p:nvSpPr>
          <p:cNvPr id="8" name="Titel 46">
            <a:extLst>
              <a:ext uri="{FF2B5EF4-FFF2-40B4-BE49-F238E27FC236}">
                <a16:creationId xmlns:a16="http://schemas.microsoft.com/office/drawing/2014/main" id="{D0503FC6-C0D8-404C-BABC-95997E490EC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559496" y="-71263"/>
            <a:ext cx="9001000" cy="45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2954" b="1" dirty="0"/>
              <a:t>Sommaire du Règlement communal d’urbanisme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1FE88B1A-E308-4D68-9B6C-10FFD4A96DB5}"/>
              </a:ext>
            </a:extLst>
          </p:cNvPr>
          <p:cNvGrpSpPr/>
          <p:nvPr/>
        </p:nvGrpSpPr>
        <p:grpSpPr>
          <a:xfrm rot="16200000">
            <a:off x="10905096" y="879015"/>
            <a:ext cx="2165919" cy="407890"/>
            <a:chOff x="6654790" y="3257324"/>
            <a:chExt cx="2165919" cy="40789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32DFEB2-9AA3-44E1-8263-AC7F56920E5B}"/>
                </a:ext>
              </a:extLst>
            </p:cNvPr>
            <p:cNvSpPr/>
            <p:nvPr/>
          </p:nvSpPr>
          <p:spPr>
            <a:xfrm>
              <a:off x="6794941" y="3257326"/>
              <a:ext cx="1605315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4. PAZ et RCU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A1E9A3-66E5-40D0-A916-6DD9003DEE3A}"/>
                </a:ext>
              </a:extLst>
            </p:cNvPr>
            <p:cNvSpPr/>
            <p:nvPr/>
          </p:nvSpPr>
          <p:spPr>
            <a:xfrm>
              <a:off x="8680558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B375D42-94C5-446A-AFB7-6665C57DC988}"/>
                </a:ext>
              </a:extLst>
            </p:cNvPr>
            <p:cNvSpPr/>
            <p:nvPr/>
          </p:nvSpPr>
          <p:spPr>
            <a:xfrm>
              <a:off x="8540407" y="32573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E5BD647-40F0-4D92-8019-9B446C7E7A59}"/>
                </a:ext>
              </a:extLst>
            </p:cNvPr>
            <p:cNvSpPr/>
            <p:nvPr/>
          </p:nvSpPr>
          <p:spPr>
            <a:xfrm>
              <a:off x="8400256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171415D-060D-495F-BFEE-23C71AC223C1}"/>
                </a:ext>
              </a:extLst>
            </p:cNvPr>
            <p:cNvSpPr/>
            <p:nvPr/>
          </p:nvSpPr>
          <p:spPr>
            <a:xfrm>
              <a:off x="6654790" y="32573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3847546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B12500B6-093C-4172-BE9E-CA71012D4A4E}" type="slidenum">
              <a:rPr lang="de-CH" altLang="fr-FR"/>
              <a:pPr/>
              <a:t>11</a:t>
            </a:fld>
            <a:endParaRPr lang="de-CH" altLang="fr-FR"/>
          </a:p>
        </p:txBody>
      </p:sp>
      <p:graphicFrame>
        <p:nvGraphicFramePr>
          <p:cNvPr id="27650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5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F974B7B7-4FD6-467E-A1EF-C915CCCE3B7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7009556"/>
              </p:ext>
            </p:extLst>
          </p:nvPr>
        </p:nvGraphicFramePr>
        <p:xfrm>
          <a:off x="455712" y="0"/>
          <a:ext cx="11280576" cy="6874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58" name="Acrobat Document" r:id="rId8" imgW="34556486" imgH="21059572" progId="AcroExch.Document.7">
                  <p:embed/>
                </p:oleObj>
              </mc:Choice>
              <mc:Fallback>
                <p:oleObj name="Acrobat Document" r:id="rId8" imgW="34556486" imgH="21059572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55712" y="0"/>
                        <a:ext cx="11280576" cy="6874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668433E-EFAD-4686-84A0-9CADC481CB00}"/>
              </a:ext>
            </a:extLst>
          </p:cNvPr>
          <p:cNvSpPr/>
          <p:nvPr/>
        </p:nvSpPr>
        <p:spPr>
          <a:xfrm>
            <a:off x="664308" y="116632"/>
            <a:ext cx="1615268" cy="2592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EBDEE1-7CA7-4BC2-870A-EEEBCE6BEC1E}"/>
              </a:ext>
            </a:extLst>
          </p:cNvPr>
          <p:cNvSpPr/>
          <p:nvPr/>
        </p:nvSpPr>
        <p:spPr>
          <a:xfrm>
            <a:off x="1583184" y="13171"/>
            <a:ext cx="5088879" cy="31948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8" name="Titel 46">
            <a:extLst>
              <a:ext uri="{FF2B5EF4-FFF2-40B4-BE49-F238E27FC236}">
                <a16:creationId xmlns:a16="http://schemas.microsoft.com/office/drawing/2014/main" id="{FD2D445D-AC8E-421C-A525-C6354D0B290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559496" y="-71263"/>
            <a:ext cx="5278523" cy="909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2954" b="1" dirty="0"/>
              <a:t>Plan d’affectation des zones</a:t>
            </a:r>
            <a:br>
              <a:rPr lang="fr-CH" altLang="fr-FR" sz="2954" b="1" dirty="0"/>
            </a:br>
            <a:endParaRPr lang="fr-CH" altLang="fr-FR" sz="2954" b="1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07DA50C-07A5-4108-B3D3-51A685B70DB1}"/>
              </a:ext>
            </a:extLst>
          </p:cNvPr>
          <p:cNvGrpSpPr/>
          <p:nvPr/>
        </p:nvGrpSpPr>
        <p:grpSpPr>
          <a:xfrm rot="16200000">
            <a:off x="10905096" y="879015"/>
            <a:ext cx="2165919" cy="407890"/>
            <a:chOff x="6654790" y="3257324"/>
            <a:chExt cx="2165919" cy="40789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1A6F68B-537B-4F03-8EE8-AAA9636C92C8}"/>
                </a:ext>
              </a:extLst>
            </p:cNvPr>
            <p:cNvSpPr/>
            <p:nvPr/>
          </p:nvSpPr>
          <p:spPr>
            <a:xfrm>
              <a:off x="6794941" y="3257326"/>
              <a:ext cx="1605315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4. PAZ et RCU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0B0D368-7DDB-419D-923C-3CA03E9D7B7B}"/>
                </a:ext>
              </a:extLst>
            </p:cNvPr>
            <p:cNvSpPr/>
            <p:nvPr/>
          </p:nvSpPr>
          <p:spPr>
            <a:xfrm>
              <a:off x="8680558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3992D9D-A54E-45CD-8804-D517F57140F0}"/>
                </a:ext>
              </a:extLst>
            </p:cNvPr>
            <p:cNvSpPr/>
            <p:nvPr/>
          </p:nvSpPr>
          <p:spPr>
            <a:xfrm>
              <a:off x="8540407" y="32573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0A37CDD-41CB-44E6-9A0B-FD34E551DB1B}"/>
                </a:ext>
              </a:extLst>
            </p:cNvPr>
            <p:cNvSpPr/>
            <p:nvPr/>
          </p:nvSpPr>
          <p:spPr>
            <a:xfrm>
              <a:off x="8400256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7825657-DCCE-4FA7-A17D-39D057C1036C}"/>
                </a:ext>
              </a:extLst>
            </p:cNvPr>
            <p:cNvSpPr/>
            <p:nvPr/>
          </p:nvSpPr>
          <p:spPr>
            <a:xfrm>
              <a:off x="6654790" y="32573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4127272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B12500B6-093C-4172-BE9E-CA71012D4A4E}" type="slidenum">
              <a:rPr lang="de-CH" altLang="fr-FR"/>
              <a:pPr/>
              <a:t>12</a:t>
            </a:fld>
            <a:endParaRPr lang="de-CH" altLang="fr-FR"/>
          </a:p>
        </p:txBody>
      </p:sp>
      <p:graphicFrame>
        <p:nvGraphicFramePr>
          <p:cNvPr id="27650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2765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BFBCC438-8172-4C38-AC36-3B43117976E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8156343"/>
              </p:ext>
            </p:extLst>
          </p:nvPr>
        </p:nvGraphicFramePr>
        <p:xfrm>
          <a:off x="1260500" y="9192"/>
          <a:ext cx="9686630" cy="68488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1" name="Acrobat Document" r:id="rId8" imgW="11344233" imgH="8019915" progId="AcroExch.Document.7">
                  <p:embed/>
                </p:oleObj>
              </mc:Choice>
              <mc:Fallback>
                <p:oleObj name="Acrobat Document" r:id="rId8" imgW="11344233" imgH="8019915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60500" y="9192"/>
                        <a:ext cx="9686630" cy="68488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F377350-AA07-4DB3-94D7-260F12B69DF9}"/>
              </a:ext>
            </a:extLst>
          </p:cNvPr>
          <p:cNvSpPr/>
          <p:nvPr/>
        </p:nvSpPr>
        <p:spPr>
          <a:xfrm>
            <a:off x="1560513" y="9192"/>
            <a:ext cx="2159223" cy="32346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0" name="Titel 46">
            <a:extLst>
              <a:ext uri="{FF2B5EF4-FFF2-40B4-BE49-F238E27FC236}">
                <a16:creationId xmlns:a16="http://schemas.microsoft.com/office/drawing/2014/main" id="{EC424D77-CD0C-4754-9142-B4CB6D7745E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559496" y="-71263"/>
            <a:ext cx="5278523" cy="45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2954" b="1" dirty="0"/>
              <a:t>PAZ et RCU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94231E06-4F00-4489-B10E-9F5EE58A7F04}"/>
              </a:ext>
            </a:extLst>
          </p:cNvPr>
          <p:cNvGrpSpPr/>
          <p:nvPr/>
        </p:nvGrpSpPr>
        <p:grpSpPr>
          <a:xfrm rot="16200000">
            <a:off x="10905096" y="879015"/>
            <a:ext cx="2165919" cy="407890"/>
            <a:chOff x="6654790" y="3257324"/>
            <a:chExt cx="2165919" cy="40789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AC63BBD-5EEC-425F-84C7-38D34287DF47}"/>
                </a:ext>
              </a:extLst>
            </p:cNvPr>
            <p:cNvSpPr/>
            <p:nvPr/>
          </p:nvSpPr>
          <p:spPr>
            <a:xfrm>
              <a:off x="6794941" y="3257326"/>
              <a:ext cx="1605315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4. PAZ et RCU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21F4759-F966-4357-AB95-657C36052608}"/>
                </a:ext>
              </a:extLst>
            </p:cNvPr>
            <p:cNvSpPr/>
            <p:nvPr/>
          </p:nvSpPr>
          <p:spPr>
            <a:xfrm>
              <a:off x="8680558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A221916-D2F6-4A1B-B858-3437715AE306}"/>
                </a:ext>
              </a:extLst>
            </p:cNvPr>
            <p:cNvSpPr/>
            <p:nvPr/>
          </p:nvSpPr>
          <p:spPr>
            <a:xfrm>
              <a:off x="8540407" y="32573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4D33AE9-6203-43DF-88A7-0EDCC5D93E1E}"/>
                </a:ext>
              </a:extLst>
            </p:cNvPr>
            <p:cNvSpPr/>
            <p:nvPr/>
          </p:nvSpPr>
          <p:spPr>
            <a:xfrm>
              <a:off x="8400256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32E1C4-18AA-44BC-A66E-FB7D9AB7167F}"/>
                </a:ext>
              </a:extLst>
            </p:cNvPr>
            <p:cNvSpPr/>
            <p:nvPr/>
          </p:nvSpPr>
          <p:spPr>
            <a:xfrm>
              <a:off x="6654790" y="32573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CFE55958-A5C4-4671-AD45-ADC2404148F9}"/>
              </a:ext>
            </a:extLst>
          </p:cNvPr>
          <p:cNvSpPr/>
          <p:nvPr/>
        </p:nvSpPr>
        <p:spPr>
          <a:xfrm>
            <a:off x="8496100" y="140150"/>
            <a:ext cx="2750025" cy="28030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881281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A0C25721-0D0F-4002-9BE4-FF7C9771B5EE}" type="slidenum">
              <a:rPr lang="de-CH" altLang="fr-FR"/>
              <a:pPr/>
              <a:t>13</a:t>
            </a:fld>
            <a:endParaRPr lang="de-CH" altLang="fr-FR"/>
          </a:p>
        </p:txBody>
      </p:sp>
      <p:graphicFrame>
        <p:nvGraphicFramePr>
          <p:cNvPr id="1536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5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536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t 1">
            <a:extLst>
              <a:ext uri="{FF2B5EF4-FFF2-40B4-BE49-F238E27FC236}">
                <a16:creationId xmlns:a16="http://schemas.microsoft.com/office/drawing/2014/main" id="{1DA38898-7425-498B-9BC4-26EB004AA2B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5681084"/>
              </p:ext>
            </p:extLst>
          </p:nvPr>
        </p:nvGraphicFramePr>
        <p:xfrm>
          <a:off x="1240708" y="3795"/>
          <a:ext cx="9710584" cy="68657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54" name="Acrobat Document" r:id="rId8" imgW="11344233" imgH="8019915" progId="AcroExch.Document.7">
                  <p:embed/>
                </p:oleObj>
              </mc:Choice>
              <mc:Fallback>
                <p:oleObj name="Acrobat Document" r:id="rId8" imgW="11344233" imgH="8019915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40708" y="3795"/>
                        <a:ext cx="9710584" cy="686574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97C5863-87F8-4A65-9B35-905DEA14F8CC}"/>
              </a:ext>
            </a:extLst>
          </p:cNvPr>
          <p:cNvSpPr/>
          <p:nvPr/>
        </p:nvSpPr>
        <p:spPr>
          <a:xfrm>
            <a:off x="8392417" y="5986343"/>
            <a:ext cx="3320207" cy="620377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246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14921F-97CD-4115-A1FD-5DD598C9EB97}"/>
              </a:ext>
            </a:extLst>
          </p:cNvPr>
          <p:cNvSpPr/>
          <p:nvPr/>
        </p:nvSpPr>
        <p:spPr>
          <a:xfrm>
            <a:off x="8462446" y="4835392"/>
            <a:ext cx="3180148" cy="1507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1710" indent="-351710" algn="l">
              <a:spcBef>
                <a:spcPts val="738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1723" dirty="0">
                <a:effectLst>
                  <a:outerShdw sx="0" sy="0">
                    <a:srgbClr val="000000"/>
                  </a:outerShdw>
                </a:effectLst>
              </a:rPr>
              <a:t>Une densification renforcée le long de la RC</a:t>
            </a:r>
          </a:p>
          <a:p>
            <a:pPr marL="351710" indent="-351710" algn="l">
              <a:spcBef>
                <a:spcPts val="738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1723" dirty="0">
                <a:effectLst>
                  <a:outerShdw sx="0" sy="0">
                    <a:srgbClr val="000000"/>
                  </a:outerShdw>
                </a:effectLst>
              </a:rPr>
              <a:t>Des augmentations de densité variables selon les indices actue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FD735F-00CB-4114-93B0-C3464030203A}"/>
              </a:ext>
            </a:extLst>
          </p:cNvPr>
          <p:cNvSpPr/>
          <p:nvPr/>
        </p:nvSpPr>
        <p:spPr>
          <a:xfrm>
            <a:off x="8572249" y="116632"/>
            <a:ext cx="2844799" cy="79638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1" name="Titel 46">
            <a:extLst>
              <a:ext uri="{FF2B5EF4-FFF2-40B4-BE49-F238E27FC236}">
                <a16:creationId xmlns:a16="http://schemas.microsoft.com/office/drawing/2014/main" id="{3F27EA74-186B-4F7D-9B74-960DF234B7B9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559496" y="-71263"/>
            <a:ext cx="5278523" cy="909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2954" b="1" dirty="0"/>
              <a:t>Densification</a:t>
            </a:r>
            <a:br>
              <a:rPr lang="fr-CH" altLang="fr-FR" sz="2954" b="1" dirty="0"/>
            </a:br>
            <a:endParaRPr lang="fr-CH" altLang="fr-FR" sz="2954" b="1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DFBC72F8-4B6D-499B-ABEB-B7C236C7070B}"/>
              </a:ext>
            </a:extLst>
          </p:cNvPr>
          <p:cNvGrpSpPr/>
          <p:nvPr/>
        </p:nvGrpSpPr>
        <p:grpSpPr>
          <a:xfrm rot="16200000">
            <a:off x="10905096" y="879015"/>
            <a:ext cx="2165919" cy="407890"/>
            <a:chOff x="6654790" y="3257324"/>
            <a:chExt cx="2165919" cy="40789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51C5A8-EDF6-4E8D-BE04-B31EAECBF6A8}"/>
                </a:ext>
              </a:extLst>
            </p:cNvPr>
            <p:cNvSpPr/>
            <p:nvPr/>
          </p:nvSpPr>
          <p:spPr>
            <a:xfrm>
              <a:off x="6794941" y="3257326"/>
              <a:ext cx="1605315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4. PAZ et RCU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F0B211-B58C-41C2-9864-436BE937F9BB}"/>
                </a:ext>
              </a:extLst>
            </p:cNvPr>
            <p:cNvSpPr/>
            <p:nvPr/>
          </p:nvSpPr>
          <p:spPr>
            <a:xfrm>
              <a:off x="8680558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4F61879-F73A-43BA-88C9-8F5029BA0E9F}"/>
                </a:ext>
              </a:extLst>
            </p:cNvPr>
            <p:cNvSpPr/>
            <p:nvPr/>
          </p:nvSpPr>
          <p:spPr>
            <a:xfrm>
              <a:off x="8540407" y="32573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55BE7C4-78CF-490B-8E12-297D776EEA3A}"/>
                </a:ext>
              </a:extLst>
            </p:cNvPr>
            <p:cNvSpPr/>
            <p:nvPr/>
          </p:nvSpPr>
          <p:spPr>
            <a:xfrm>
              <a:off x="8400256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706AD51-3971-44A9-B1C4-8E86AD424415}"/>
                </a:ext>
              </a:extLst>
            </p:cNvPr>
            <p:cNvSpPr/>
            <p:nvPr/>
          </p:nvSpPr>
          <p:spPr>
            <a:xfrm>
              <a:off x="6654790" y="32573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BEDBCBB0-284C-44D1-9F95-019B706F6B66}"/>
              </a:ext>
            </a:extLst>
          </p:cNvPr>
          <p:cNvSpPr/>
          <p:nvPr/>
        </p:nvSpPr>
        <p:spPr>
          <a:xfrm>
            <a:off x="8599236" y="280302"/>
            <a:ext cx="2105276" cy="98210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410437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A0C25721-0D0F-4002-9BE4-FF7C9771B5EE}" type="slidenum">
              <a:rPr lang="de-CH" altLang="fr-FR"/>
              <a:pPr/>
              <a:t>14</a:t>
            </a:fld>
            <a:endParaRPr lang="de-CH" altLang="fr-FR"/>
          </a:p>
        </p:txBody>
      </p:sp>
      <p:graphicFrame>
        <p:nvGraphicFramePr>
          <p:cNvPr id="1536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6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536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2B92F765-A90A-470F-BEDB-2286D3910D1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06792635"/>
              </p:ext>
            </p:extLst>
          </p:nvPr>
        </p:nvGraphicFramePr>
        <p:xfrm>
          <a:off x="0" y="140152"/>
          <a:ext cx="12565642" cy="78082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66" name="Acrobat Document" r:id="rId8" imgW="20659497" imgH="12839700" progId="Acrobat.Document.DC">
                  <p:embed/>
                </p:oleObj>
              </mc:Choice>
              <mc:Fallback>
                <p:oleObj name="Acrobat Document" r:id="rId8" imgW="20659497" imgH="12839700" progId="Acrobat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40152"/>
                        <a:ext cx="12565642" cy="78082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D0C6FDBD-C331-4380-842D-02C9AD5548E0}"/>
              </a:ext>
            </a:extLst>
          </p:cNvPr>
          <p:cNvSpPr/>
          <p:nvPr/>
        </p:nvSpPr>
        <p:spPr>
          <a:xfrm>
            <a:off x="1487488" y="-38436"/>
            <a:ext cx="5760640" cy="4217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7" name="Titel 46">
            <a:extLst>
              <a:ext uri="{FF2B5EF4-FFF2-40B4-BE49-F238E27FC236}">
                <a16:creationId xmlns:a16="http://schemas.microsoft.com/office/drawing/2014/main" id="{C87D15D4-CB6E-42A4-8175-CB7381037E01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559496" y="-27384"/>
            <a:ext cx="5976664" cy="909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2954" b="1" dirty="0"/>
              <a:t>Plan des secteurs énergétiques</a:t>
            </a:r>
            <a:br>
              <a:rPr lang="fr-CH" altLang="fr-FR" sz="2954" b="1" dirty="0"/>
            </a:br>
            <a:r>
              <a:rPr lang="fr-CH" altLang="fr-FR" sz="2954" b="1" dirty="0"/>
              <a:t>—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CEAB4-63D1-41D0-AE65-EA9D4EEE1E38}"/>
              </a:ext>
            </a:extLst>
          </p:cNvPr>
          <p:cNvSpPr/>
          <p:nvPr/>
        </p:nvSpPr>
        <p:spPr>
          <a:xfrm>
            <a:off x="751862" y="548680"/>
            <a:ext cx="2895866" cy="42178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D311C45E-3ED3-43F1-B4C5-57D770475D13}"/>
              </a:ext>
            </a:extLst>
          </p:cNvPr>
          <p:cNvGrpSpPr/>
          <p:nvPr/>
        </p:nvGrpSpPr>
        <p:grpSpPr>
          <a:xfrm rot="16200000">
            <a:off x="10905096" y="879015"/>
            <a:ext cx="2165919" cy="407890"/>
            <a:chOff x="6654790" y="3257324"/>
            <a:chExt cx="2165919" cy="40789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8F51B76-F011-492C-8E1F-BED6959A19CF}"/>
                </a:ext>
              </a:extLst>
            </p:cNvPr>
            <p:cNvSpPr/>
            <p:nvPr/>
          </p:nvSpPr>
          <p:spPr>
            <a:xfrm>
              <a:off x="6794941" y="3257326"/>
              <a:ext cx="1605315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4. PAZ et RCU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4D301D7-E2C8-484D-9B0F-FC6639428D39}"/>
                </a:ext>
              </a:extLst>
            </p:cNvPr>
            <p:cNvSpPr/>
            <p:nvPr/>
          </p:nvSpPr>
          <p:spPr>
            <a:xfrm>
              <a:off x="8680558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BD56F38-A17D-484C-92A1-A4091BDB1BC2}"/>
                </a:ext>
              </a:extLst>
            </p:cNvPr>
            <p:cNvSpPr/>
            <p:nvPr/>
          </p:nvSpPr>
          <p:spPr>
            <a:xfrm>
              <a:off x="8540407" y="32573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D19DFD1-44CC-4975-8A36-86AF3589AE20}"/>
                </a:ext>
              </a:extLst>
            </p:cNvPr>
            <p:cNvSpPr/>
            <p:nvPr/>
          </p:nvSpPr>
          <p:spPr>
            <a:xfrm>
              <a:off x="8400256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16474BB-8731-44BE-ACF7-B67030E41141}"/>
                </a:ext>
              </a:extLst>
            </p:cNvPr>
            <p:cNvSpPr/>
            <p:nvPr/>
          </p:nvSpPr>
          <p:spPr>
            <a:xfrm>
              <a:off x="6654790" y="32573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5841221-7B56-41F4-91CB-82085DFE3A7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8383" t="17514" r="11179" b="29987"/>
          <a:stretch/>
        </p:blipFill>
        <p:spPr>
          <a:xfrm>
            <a:off x="581149" y="438905"/>
            <a:ext cx="11202960" cy="746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798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2E99A7-2469-440F-ABCF-A21AEB604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Mise à </a:t>
            </a:r>
            <a:r>
              <a:rPr lang="en-US" dirty="0" err="1"/>
              <a:t>l’enquêt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15E1A-0CBA-4610-A3FE-75C7463806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360" y="3429006"/>
            <a:ext cx="10989733" cy="677108"/>
          </a:xfrm>
        </p:spPr>
        <p:txBody>
          <a:bodyPr/>
          <a:lstStyle/>
          <a:p>
            <a:r>
              <a:rPr lang="en-US" sz="4400" b="1" dirty="0" err="1"/>
              <a:t>Depuis</a:t>
            </a:r>
            <a:r>
              <a:rPr lang="en-US" sz="4400" b="1" dirty="0"/>
              <a:t> le 23.10.2020 </a:t>
            </a:r>
            <a:r>
              <a:rPr lang="en-US" sz="4400" b="1" dirty="0" err="1"/>
              <a:t>jusqu’au</a:t>
            </a:r>
            <a:r>
              <a:rPr lang="en-US" sz="4400" b="1" dirty="0"/>
              <a:t> 23.11.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D5751-3E57-49C2-87C7-37A8F552EF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15</a:t>
            </a:fld>
            <a:endParaRPr lang="de-CH" altLang="fr-FR"/>
          </a:p>
        </p:txBody>
      </p:sp>
    </p:spTree>
    <p:extLst>
      <p:ext uri="{BB962C8B-B14F-4D97-AF65-F5344CB8AC3E}">
        <p14:creationId xmlns:p14="http://schemas.microsoft.com/office/powerpoint/2010/main" val="3318901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28D4AE-1440-432B-AAEC-670B808558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16</a:t>
            </a:fld>
            <a:endParaRPr lang="de-CH" altLang="fr-F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83F905-993B-4BFA-9B0F-3B7FD0EAB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24691"/>
            <a:ext cx="12192000" cy="48086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78B7341-42D7-4AF5-9BBF-C1B1952835FD}"/>
              </a:ext>
            </a:extLst>
          </p:cNvPr>
          <p:cNvSpPr txBox="1"/>
          <p:nvPr/>
        </p:nvSpPr>
        <p:spPr>
          <a:xfrm>
            <a:off x="407368" y="133419"/>
            <a:ext cx="10801200" cy="553967"/>
          </a:xfrm>
          <a:prstGeom prst="rect">
            <a:avLst/>
          </a:prstGeom>
        </p:spPr>
        <p:txBody>
          <a:bodyPr vert="horz" wrap="square" lIns="0" tIns="252000" rIns="0" bIns="0" rtlCol="0" anchor="ctr" anchorCtr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en-US" sz="4000" b="1" u="sng" dirty="0" err="1"/>
              <a:t>Présentation</a:t>
            </a:r>
            <a:r>
              <a:rPr lang="en-US" sz="4000" b="1" u="sng" dirty="0"/>
              <a:t> </a:t>
            </a:r>
            <a:r>
              <a:rPr lang="en-US" sz="4000" b="1" u="sng" dirty="0" err="1"/>
              <a:t>publique</a:t>
            </a:r>
            <a:endParaRPr lang="en-US" sz="4000" b="1" u="sn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AD7CE7-B558-4F21-81EA-CE680C9880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2" r="449"/>
          <a:stretch/>
        </p:blipFill>
        <p:spPr>
          <a:xfrm>
            <a:off x="73911" y="117614"/>
            <a:ext cx="12044176" cy="14768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173903D-E3ED-46DC-9E8C-FF35C66F9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0261" y="3186844"/>
            <a:ext cx="6131477" cy="3525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62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74EE8AA-B852-4EB9-BB31-F786C4CBA8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17</a:t>
            </a:fld>
            <a:endParaRPr lang="de-CH" alt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B26BD0-96DF-4A53-8296-C995B32D8B1D}"/>
              </a:ext>
            </a:extLst>
          </p:cNvPr>
          <p:cNvSpPr/>
          <p:nvPr/>
        </p:nvSpPr>
        <p:spPr>
          <a:xfrm>
            <a:off x="4875185" y="3280242"/>
            <a:ext cx="2441630" cy="2975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fr-FR" sz="2000" baseline="30000" dirty="0">
                <a:solidFill>
                  <a:srgbClr val="000000"/>
                </a:solidFill>
                <a:latin typeface="Arial Black" panose="020B0A04020102020204" pitchFamily="34" charset="0"/>
              </a:rPr>
              <a:t>Merci de votre attention</a:t>
            </a:r>
          </a:p>
        </p:txBody>
      </p:sp>
      <p:pic>
        <p:nvPicPr>
          <p:cNvPr id="7" name="Image 6" descr="Une image contenant herbe, extérieur, champ, broutant&#10;&#10;Description générée automatiquement">
            <a:extLst>
              <a:ext uri="{FF2B5EF4-FFF2-40B4-BE49-F238E27FC236}">
                <a16:creationId xmlns:a16="http://schemas.microsoft.com/office/drawing/2014/main" id="{BF56DED3-5BEC-424F-96E0-954079862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043608"/>
            <a:ext cx="12457384" cy="9343038"/>
          </a:xfrm>
          <a:prstGeom prst="rect">
            <a:avLst/>
          </a:prstGeom>
        </p:spPr>
      </p:pic>
      <p:sp>
        <p:nvSpPr>
          <p:cNvPr id="8" name="Titel 46">
            <a:extLst>
              <a:ext uri="{FF2B5EF4-FFF2-40B4-BE49-F238E27FC236}">
                <a16:creationId xmlns:a16="http://schemas.microsoft.com/office/drawing/2014/main" id="{4E028A97-3EE9-4EAB-99FA-18D63AC8430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171564" y="6006767"/>
            <a:ext cx="7848872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4400" b="1" dirty="0">
                <a:solidFill>
                  <a:schemeClr val="bg1"/>
                </a:solidFill>
                <a:latin typeface="Arial Black" panose="020B0A04020102020204" pitchFamily="34" charset="0"/>
              </a:rPr>
              <a:t>Merci de votre attention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1F0195D3-6B1C-4458-8623-5D8BC64343CB}"/>
              </a:ext>
            </a:extLst>
          </p:cNvPr>
          <p:cNvGrpSpPr/>
          <p:nvPr/>
        </p:nvGrpSpPr>
        <p:grpSpPr>
          <a:xfrm rot="16200000">
            <a:off x="10347173" y="1435414"/>
            <a:ext cx="3281766" cy="407889"/>
            <a:chOff x="6168008" y="4078091"/>
            <a:chExt cx="3281766" cy="40788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CB0C166-15B1-449E-8C44-E3DE09D60954}"/>
                </a:ext>
              </a:extLst>
            </p:cNvPr>
            <p:cNvSpPr/>
            <p:nvPr/>
          </p:nvSpPr>
          <p:spPr>
            <a:xfrm>
              <a:off x="6168008" y="4078093"/>
              <a:ext cx="2725429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800" dirty="0">
                  <a:solidFill>
                    <a:schemeClr val="tx1"/>
                  </a:solidFill>
                </a:rPr>
                <a:t>5. Discussion / ques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88F45E4-B492-4B08-B518-AFF575B5DD9E}"/>
                </a:ext>
              </a:extLst>
            </p:cNvPr>
            <p:cNvSpPr/>
            <p:nvPr/>
          </p:nvSpPr>
          <p:spPr>
            <a:xfrm>
              <a:off x="9309623" y="4078093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3A58F6F-787C-473B-B502-10F5864EA6D5}"/>
                </a:ext>
              </a:extLst>
            </p:cNvPr>
            <p:cNvSpPr/>
            <p:nvPr/>
          </p:nvSpPr>
          <p:spPr>
            <a:xfrm>
              <a:off x="9169472" y="4078092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44D2E9A-C2D2-47B3-A3FF-654AFB26DFF3}"/>
                </a:ext>
              </a:extLst>
            </p:cNvPr>
            <p:cNvSpPr/>
            <p:nvPr/>
          </p:nvSpPr>
          <p:spPr>
            <a:xfrm>
              <a:off x="9029321" y="4078093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8D4825-39D4-4DB0-B1DF-888FCA25448E}"/>
                </a:ext>
              </a:extLst>
            </p:cNvPr>
            <p:cNvSpPr/>
            <p:nvPr/>
          </p:nvSpPr>
          <p:spPr>
            <a:xfrm>
              <a:off x="8889170" y="407809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367518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955172-9C1B-4F9C-BEE4-90572E845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H"/>
          </a:p>
        </p:txBody>
      </p:sp>
      <p:pic>
        <p:nvPicPr>
          <p:cNvPr id="6" name="Espace réservé du contenu 5" descr="Une image contenant personne, foule, homme, debout&#10;&#10;Description générée automatiquement">
            <a:extLst>
              <a:ext uri="{FF2B5EF4-FFF2-40B4-BE49-F238E27FC236}">
                <a16:creationId xmlns:a16="http://schemas.microsoft.com/office/drawing/2014/main" id="{9ED838B3-7E32-40FE-B966-08FB425117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-240704" y="-387424"/>
            <a:ext cx="12529392" cy="8345551"/>
          </a:xfr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93A9AA8-6A43-4311-BB4D-DB0F4DD688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18</a:t>
            </a:fld>
            <a:endParaRPr lang="de-CH" altLang="fr-FR"/>
          </a:p>
        </p:txBody>
      </p:sp>
      <p:sp>
        <p:nvSpPr>
          <p:cNvPr id="7" name="Titel 46">
            <a:extLst>
              <a:ext uri="{FF2B5EF4-FFF2-40B4-BE49-F238E27FC236}">
                <a16:creationId xmlns:a16="http://schemas.microsoft.com/office/drawing/2014/main" id="{09958C14-3B7E-4E80-889A-98BBA7A512BF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67608" y="1487178"/>
            <a:ext cx="597666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4400" b="1" dirty="0">
                <a:solidFill>
                  <a:schemeClr val="bg1"/>
                </a:solidFill>
                <a:latin typeface="Arial Black" panose="020B0A04020102020204" pitchFamily="34" charset="0"/>
              </a:rPr>
              <a:t>Des questions ?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37100256-41F9-4561-9B9C-6DDD67092037}"/>
              </a:ext>
            </a:extLst>
          </p:cNvPr>
          <p:cNvGrpSpPr/>
          <p:nvPr/>
        </p:nvGrpSpPr>
        <p:grpSpPr>
          <a:xfrm rot="16200000">
            <a:off x="10347173" y="1435414"/>
            <a:ext cx="3281766" cy="407889"/>
            <a:chOff x="6168008" y="4078091"/>
            <a:chExt cx="3281766" cy="407889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5E92D16-72BD-4D23-85AE-4D73A2B615BA}"/>
                </a:ext>
              </a:extLst>
            </p:cNvPr>
            <p:cNvSpPr/>
            <p:nvPr/>
          </p:nvSpPr>
          <p:spPr>
            <a:xfrm>
              <a:off x="6168008" y="4078093"/>
              <a:ext cx="2725429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800" dirty="0">
                  <a:solidFill>
                    <a:schemeClr val="tx1"/>
                  </a:solidFill>
                </a:rPr>
                <a:t>5. Discussion / ques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04DAD09-C49B-4E87-8AFB-48F16CC0362F}"/>
                </a:ext>
              </a:extLst>
            </p:cNvPr>
            <p:cNvSpPr/>
            <p:nvPr/>
          </p:nvSpPr>
          <p:spPr>
            <a:xfrm>
              <a:off x="9309623" y="4078093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870AD7B-8E8E-4A29-B9A5-5A2D479CB081}"/>
                </a:ext>
              </a:extLst>
            </p:cNvPr>
            <p:cNvSpPr/>
            <p:nvPr/>
          </p:nvSpPr>
          <p:spPr>
            <a:xfrm>
              <a:off x="9169472" y="4078092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A82B147-F705-4232-A7CA-0421C3FF9809}"/>
                </a:ext>
              </a:extLst>
            </p:cNvPr>
            <p:cNvSpPr/>
            <p:nvPr/>
          </p:nvSpPr>
          <p:spPr>
            <a:xfrm>
              <a:off x="9029321" y="4078093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4FCB62F-2278-4BE0-8B0E-228879A12815}"/>
                </a:ext>
              </a:extLst>
            </p:cNvPr>
            <p:cNvSpPr/>
            <p:nvPr/>
          </p:nvSpPr>
          <p:spPr>
            <a:xfrm>
              <a:off x="8889170" y="407809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2709014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03D543E5-47E7-4766-A985-90D07AACA290}" type="slidenum">
              <a:rPr lang="de-CH" altLang="fr-FR"/>
              <a:pPr/>
              <a:t>2</a:t>
            </a:fld>
            <a:endParaRPr lang="de-CH" altLang="fr-FR"/>
          </a:p>
        </p:txBody>
      </p:sp>
      <p:graphicFrame>
        <p:nvGraphicFramePr>
          <p:cNvPr id="1331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6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1331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7" name="Rectangle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952385" y="1055421"/>
            <a:ext cx="10191262" cy="354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58775" indent="-3587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 eaLnBrk="1" hangingPunct="1">
              <a:spcBef>
                <a:spcPts val="738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CH" altLang="fr-FR" sz="2954" dirty="0"/>
              <a:t>Historique</a:t>
            </a:r>
          </a:p>
          <a:p>
            <a:pPr algn="l" eaLnBrk="1" hangingPunct="1">
              <a:spcBef>
                <a:spcPts val="738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CH" altLang="fr-FR" sz="2954" dirty="0"/>
              <a:t>Composition du dossier</a:t>
            </a:r>
          </a:p>
          <a:p>
            <a:pPr algn="l" eaLnBrk="1" hangingPunct="1">
              <a:spcBef>
                <a:spcPts val="738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CH" altLang="fr-FR" sz="2954" dirty="0"/>
              <a:t>Vision communale: </a:t>
            </a:r>
            <a:r>
              <a:rPr lang="fr-CH" altLang="fr-FR" sz="2954" dirty="0" err="1"/>
              <a:t>PDcom</a:t>
            </a:r>
            <a:endParaRPr lang="fr-CH" altLang="fr-FR" sz="2954" dirty="0"/>
          </a:p>
          <a:p>
            <a:pPr algn="l" eaLnBrk="1" hangingPunct="1">
              <a:spcBef>
                <a:spcPts val="738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CH" altLang="fr-FR" sz="2954" dirty="0"/>
              <a:t>PAZ et RCU</a:t>
            </a:r>
          </a:p>
          <a:p>
            <a:pPr algn="l" eaLnBrk="1" hangingPunct="1">
              <a:spcBef>
                <a:spcPts val="738"/>
              </a:spcBef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CH" altLang="fr-FR" sz="2954" dirty="0"/>
              <a:t>Discussion / questions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5C10C73-90EE-4FFC-BEE0-202B49E5FFB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952387" y="96948"/>
            <a:ext cx="4783573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lang="de-DE" sz="3939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562737"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1125472"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688207"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2250944" algn="l" defTabSz="562737" rtl="0" eaLnBrk="1" fontAlgn="base" hangingPunct="1">
              <a:spcBef>
                <a:spcPct val="0"/>
              </a:spcBef>
              <a:spcAft>
                <a:spcPct val="0"/>
              </a:spcAft>
              <a:defRPr sz="3939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altLang="fr-FR" sz="2950" dirty="0">
                <a:latin typeface="Arial" charset="0"/>
              </a:rPr>
              <a:t>Plan de la présentation</a:t>
            </a:r>
            <a:br>
              <a:rPr lang="fr-CH" altLang="fr-FR" sz="2950" dirty="0">
                <a:latin typeface="Arial" charset="0"/>
              </a:rPr>
            </a:br>
            <a:r>
              <a:rPr lang="fr-CH" altLang="fr-FR" sz="2950" dirty="0">
                <a:latin typeface="Arial" charset="0"/>
              </a:rPr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959104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A0C25721-0D0F-4002-9BE4-FF7C9771B5EE}" type="slidenum">
              <a:rPr lang="de-CH" altLang="fr-FR"/>
              <a:pPr/>
              <a:t>3</a:t>
            </a:fld>
            <a:endParaRPr lang="de-CH" altLang="fr-FR"/>
          </a:p>
        </p:txBody>
      </p:sp>
      <p:graphicFrame>
        <p:nvGraphicFramePr>
          <p:cNvPr id="1536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64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5362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5" name="Rectangle 8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52387" y="96948"/>
            <a:ext cx="10144369" cy="909223"/>
          </a:xfrm>
        </p:spPr>
        <p:txBody>
          <a:bodyPr/>
          <a:lstStyle/>
          <a:p>
            <a:r>
              <a:rPr lang="fr-CH" altLang="fr-FR" sz="2954" dirty="0">
                <a:latin typeface="Arial" charset="0"/>
              </a:rPr>
              <a:t>Etapes de la révision</a:t>
            </a:r>
            <a:br>
              <a:rPr lang="fr-CH" altLang="fr-FR" sz="2954" dirty="0">
                <a:latin typeface="Arial" charset="0"/>
              </a:rPr>
            </a:br>
            <a:r>
              <a:rPr lang="fr-CH" altLang="fr-FR" sz="2954" dirty="0">
                <a:latin typeface="Arial" charset="0"/>
              </a:rPr>
              <a:t>—</a:t>
            </a:r>
          </a:p>
        </p:txBody>
      </p:sp>
      <p:graphicFrame>
        <p:nvGraphicFramePr>
          <p:cNvPr id="5" name="Tableau 6">
            <a:extLst>
              <a:ext uri="{FF2B5EF4-FFF2-40B4-BE49-F238E27FC236}">
                <a16:creationId xmlns:a16="http://schemas.microsoft.com/office/drawing/2014/main" id="{4ABD0F1B-D4E1-44D4-9D3B-07BFAAEFE7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80379"/>
              </p:ext>
            </p:extLst>
          </p:nvPr>
        </p:nvGraphicFramePr>
        <p:xfrm>
          <a:off x="952386" y="1058862"/>
          <a:ext cx="10328189" cy="489041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304357">
                  <a:extLst>
                    <a:ext uri="{9D8B030D-6E8A-4147-A177-3AD203B41FA5}">
                      <a16:colId xmlns:a16="http://schemas.microsoft.com/office/drawing/2014/main" val="864750085"/>
                    </a:ext>
                  </a:extLst>
                </a:gridCol>
                <a:gridCol w="8023832">
                  <a:extLst>
                    <a:ext uri="{9D8B030D-6E8A-4147-A177-3AD203B41FA5}">
                      <a16:colId xmlns:a16="http://schemas.microsoft.com/office/drawing/2014/main" val="2389069404"/>
                    </a:ext>
                  </a:extLst>
                </a:gridCol>
              </a:tblGrid>
              <a:tr h="611302">
                <a:tc>
                  <a:txBody>
                    <a:bodyPr/>
                    <a:lstStyle/>
                    <a:p>
                      <a:r>
                        <a:rPr lang="fr-CH" sz="2215" b="0" dirty="0"/>
                        <a:t>2015 m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0" dirty="0"/>
                        <a:t>CC et Cam : ateliers de réflexion du P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7461080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15 octob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Population : démarche participative du P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3414083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15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GEA &amp; CITEC &amp; CSD : élaboration du P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0622725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16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Elaboration dossier modification partielle du P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743585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19 m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Approbation modification partielle du P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3028444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19 m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Préavis d’examen préalable du PAL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5322959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19-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Etablissement du dossier fi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485806"/>
                  </a:ext>
                </a:extLst>
              </a:tr>
              <a:tr h="611302">
                <a:tc>
                  <a:txBody>
                    <a:bodyPr/>
                    <a:lstStyle/>
                    <a:p>
                      <a:r>
                        <a:rPr lang="fr-CH" dirty="0"/>
                        <a:t>2020 novemb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/>
                        <a:t>Enquête publique du PAL (23.10 – 23.1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336655"/>
                  </a:ext>
                </a:extLst>
              </a:tr>
            </a:tbl>
          </a:graphicData>
        </a:graphic>
      </p:graphicFrame>
      <p:grpSp>
        <p:nvGrpSpPr>
          <p:cNvPr id="7" name="Groupe 6">
            <a:extLst>
              <a:ext uri="{FF2B5EF4-FFF2-40B4-BE49-F238E27FC236}">
                <a16:creationId xmlns:a16="http://schemas.microsoft.com/office/drawing/2014/main" id="{EF988788-A329-4C27-9718-35D78652EC9C}"/>
              </a:ext>
            </a:extLst>
          </p:cNvPr>
          <p:cNvGrpSpPr/>
          <p:nvPr/>
        </p:nvGrpSpPr>
        <p:grpSpPr>
          <a:xfrm rot="16200000">
            <a:off x="11040414" y="733539"/>
            <a:ext cx="1895283" cy="407889"/>
            <a:chOff x="6550095" y="1072724"/>
            <a:chExt cx="1895283" cy="40788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F9BF5A-73EC-4D90-8C78-5E74C61B1DBF}"/>
                </a:ext>
              </a:extLst>
            </p:cNvPr>
            <p:cNvSpPr/>
            <p:nvPr/>
          </p:nvSpPr>
          <p:spPr>
            <a:xfrm>
              <a:off x="7114566" y="1072726"/>
              <a:ext cx="1330812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1. Historiqu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834EFB-9ADE-417E-9695-F8544E1777EC}"/>
                </a:ext>
              </a:extLst>
            </p:cNvPr>
            <p:cNvSpPr/>
            <p:nvPr/>
          </p:nvSpPr>
          <p:spPr>
            <a:xfrm>
              <a:off x="6970548" y="10727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73043B6-B0E3-489A-B4AC-74160D48C1F2}"/>
                </a:ext>
              </a:extLst>
            </p:cNvPr>
            <p:cNvSpPr/>
            <p:nvPr/>
          </p:nvSpPr>
          <p:spPr>
            <a:xfrm>
              <a:off x="6830397" y="1072725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6FFD24-A698-43C3-A19D-5D3BA55ED6C3}"/>
                </a:ext>
              </a:extLst>
            </p:cNvPr>
            <p:cNvSpPr/>
            <p:nvPr/>
          </p:nvSpPr>
          <p:spPr>
            <a:xfrm>
              <a:off x="6690246" y="10727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C7E9D0D-F475-4932-9CED-406CB4215F6E}"/>
                </a:ext>
              </a:extLst>
            </p:cNvPr>
            <p:cNvSpPr/>
            <p:nvPr/>
          </p:nvSpPr>
          <p:spPr>
            <a:xfrm>
              <a:off x="6550095" y="10727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952489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ln/>
        </p:spPr>
        <p:txBody>
          <a:bodyPr/>
          <a:lstStyle/>
          <a:p>
            <a:fld id="{A0C25721-0D0F-4002-9BE4-FF7C9771B5EE}" type="slidenum">
              <a:rPr lang="de-CH" altLang="fr-FR"/>
              <a:pPr/>
              <a:t>4</a:t>
            </a:fld>
            <a:endParaRPr lang="de-CH" altLang="fr-FR"/>
          </a:p>
        </p:txBody>
      </p:sp>
      <p:graphicFrame>
        <p:nvGraphicFramePr>
          <p:cNvPr id="1536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68923" y="-791308"/>
          <a:ext cx="195385" cy="19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923" y="-791308"/>
                        <a:ext cx="195385" cy="19538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>
            <a:extLst>
              <a:ext uri="{FF2B5EF4-FFF2-40B4-BE49-F238E27FC236}">
                <a16:creationId xmlns:a16="http://schemas.microsoft.com/office/drawing/2014/main" id="{682D9FDB-BB98-45EA-9BF0-7AB275B934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4053" y="0"/>
            <a:ext cx="9403893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74EDF22-BAF0-4BC7-8AAD-D2903A8DE0C2}"/>
              </a:ext>
            </a:extLst>
          </p:cNvPr>
          <p:cNvSpPr/>
          <p:nvPr/>
        </p:nvSpPr>
        <p:spPr>
          <a:xfrm>
            <a:off x="10643217" y="174125"/>
            <a:ext cx="1548783" cy="613169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865DCC-7F84-4EF6-BB22-4AB2753CF48F}"/>
              </a:ext>
            </a:extLst>
          </p:cNvPr>
          <p:cNvSpPr/>
          <p:nvPr/>
        </p:nvSpPr>
        <p:spPr>
          <a:xfrm>
            <a:off x="82721" y="140151"/>
            <a:ext cx="1394053" cy="613169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62A8ADC3-6CB1-4176-9020-9AB33835F712}"/>
              </a:ext>
            </a:extLst>
          </p:cNvPr>
          <p:cNvGrpSpPr/>
          <p:nvPr/>
        </p:nvGrpSpPr>
        <p:grpSpPr>
          <a:xfrm rot="16200000">
            <a:off x="10415128" y="1368988"/>
            <a:ext cx="3145871" cy="407891"/>
            <a:chOff x="6618675" y="1863139"/>
            <a:chExt cx="3145871" cy="4078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B444A94-FB74-421E-8E51-ECB730939536}"/>
                </a:ext>
              </a:extLst>
            </p:cNvPr>
            <p:cNvSpPr/>
            <p:nvPr/>
          </p:nvSpPr>
          <p:spPr>
            <a:xfrm>
              <a:off x="7039129" y="1863141"/>
              <a:ext cx="2585264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2. Composition du dossier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DA905BD-8CAA-4AE8-AC41-C86F3E5FC4EA}"/>
                </a:ext>
              </a:extLst>
            </p:cNvPr>
            <p:cNvSpPr/>
            <p:nvPr/>
          </p:nvSpPr>
          <p:spPr>
            <a:xfrm>
              <a:off x="9624395" y="1863143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FDF284D-63B7-48B3-9A00-0D8158D1113C}"/>
                </a:ext>
              </a:extLst>
            </p:cNvPr>
            <p:cNvSpPr/>
            <p:nvPr/>
          </p:nvSpPr>
          <p:spPr>
            <a:xfrm>
              <a:off x="6898977" y="1863140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A8F86BF-21F8-4245-A5D4-18FC19FD12B3}"/>
                </a:ext>
              </a:extLst>
            </p:cNvPr>
            <p:cNvSpPr/>
            <p:nvPr/>
          </p:nvSpPr>
          <p:spPr>
            <a:xfrm>
              <a:off x="6758826" y="186314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547CCBF-3B43-4A1E-9C25-4824F75BF00C}"/>
                </a:ext>
              </a:extLst>
            </p:cNvPr>
            <p:cNvSpPr/>
            <p:nvPr/>
          </p:nvSpPr>
          <p:spPr>
            <a:xfrm>
              <a:off x="6618675" y="1863139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260A1F5-FBF9-4D35-88A0-7D97AB1CF860}"/>
              </a:ext>
            </a:extLst>
          </p:cNvPr>
          <p:cNvSpPr/>
          <p:nvPr/>
        </p:nvSpPr>
        <p:spPr>
          <a:xfrm>
            <a:off x="1559496" y="1268760"/>
            <a:ext cx="4536504" cy="4104456"/>
          </a:xfrm>
          <a:prstGeom prst="rect">
            <a:avLst/>
          </a:prstGeom>
          <a:noFill/>
          <a:ln w="76200">
            <a:solidFill>
              <a:srgbClr val="3EFC4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3313FD-3295-419D-90C2-237E0DDE1466}"/>
              </a:ext>
            </a:extLst>
          </p:cNvPr>
          <p:cNvSpPr/>
          <p:nvPr/>
        </p:nvSpPr>
        <p:spPr>
          <a:xfrm>
            <a:off x="6248400" y="1234836"/>
            <a:ext cx="4384104" cy="1630731"/>
          </a:xfrm>
          <a:prstGeom prst="rect">
            <a:avLst/>
          </a:prstGeom>
          <a:noFill/>
          <a:ln w="76200">
            <a:solidFill>
              <a:srgbClr val="FF33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1CC5BC-E9B7-4990-AE83-9AD44C24A51D}"/>
              </a:ext>
            </a:extLst>
          </p:cNvPr>
          <p:cNvSpPr txBox="1"/>
          <p:nvPr/>
        </p:nvSpPr>
        <p:spPr>
          <a:xfrm>
            <a:off x="191344" y="260648"/>
            <a:ext cx="3168352" cy="864096"/>
          </a:xfrm>
          <a:prstGeom prst="rect">
            <a:avLst/>
          </a:prstGeom>
          <a:ln w="76200">
            <a:solidFill>
              <a:srgbClr val="3EFC43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spcAft>
                <a:spcPts val="600"/>
              </a:spcAft>
              <a:buClr>
                <a:srgbClr val="074EA1"/>
              </a:buClr>
            </a:pPr>
            <a:r>
              <a:rPr lang="fr-CH" sz="2800" b="1" dirty="0"/>
              <a:t>Lie les autorités entre ell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EBE940-7982-41EF-8F5A-0AC8548413CA}"/>
              </a:ext>
            </a:extLst>
          </p:cNvPr>
          <p:cNvSpPr txBox="1"/>
          <p:nvPr/>
        </p:nvSpPr>
        <p:spPr>
          <a:xfrm>
            <a:off x="8832306" y="260647"/>
            <a:ext cx="2777612" cy="800063"/>
          </a:xfrm>
          <a:prstGeom prst="rect">
            <a:avLst/>
          </a:prstGeom>
          <a:ln w="76200">
            <a:solidFill>
              <a:srgbClr val="FF3300"/>
            </a:solidFill>
          </a:ln>
        </p:spPr>
        <p:txBody>
          <a:bodyPr vert="horz" wrap="square" lIns="0" tIns="108000" rIns="0" bIns="0" rtlCol="0" anchor="ctr" anchorCtr="0">
            <a:no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en-US" sz="2800" b="1" dirty="0"/>
              <a:t>OPPOSAB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  <p:bldP spid="4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F29F6CA-2725-455B-8544-67BD8A5520E9}"/>
              </a:ext>
            </a:extLst>
          </p:cNvPr>
          <p:cNvSpPr/>
          <p:nvPr/>
        </p:nvSpPr>
        <p:spPr>
          <a:xfrm>
            <a:off x="1487489" y="5733256"/>
            <a:ext cx="9721080" cy="7312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E6C1CFE-F6BD-4DC2-9460-6FFCFE8053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5</a:t>
            </a:fld>
            <a:endParaRPr lang="de-CH" altLang="fr-FR"/>
          </a:p>
        </p:txBody>
      </p:sp>
      <p:pic>
        <p:nvPicPr>
          <p:cNvPr id="7" name="Image 6" descr="Une image contenant carte&#10;&#10;Description générée automatiquement">
            <a:extLst>
              <a:ext uri="{FF2B5EF4-FFF2-40B4-BE49-F238E27FC236}">
                <a16:creationId xmlns:a16="http://schemas.microsoft.com/office/drawing/2014/main" id="{E96EACEE-BE8A-49EE-B69A-D2C40E8E92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175"/>
          <a:stretch/>
        </p:blipFill>
        <p:spPr>
          <a:xfrm>
            <a:off x="2277434" y="3685197"/>
            <a:ext cx="7760068" cy="277929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1525F63-9ADF-469B-B965-D96B7C5A7E56}"/>
              </a:ext>
            </a:extLst>
          </p:cNvPr>
          <p:cNvSpPr/>
          <p:nvPr/>
        </p:nvSpPr>
        <p:spPr>
          <a:xfrm>
            <a:off x="11059013" y="116632"/>
            <a:ext cx="1132987" cy="63778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C0C186-8489-4D86-A70F-F5ABE6E84D44}"/>
              </a:ext>
            </a:extLst>
          </p:cNvPr>
          <p:cNvSpPr/>
          <p:nvPr/>
        </p:nvSpPr>
        <p:spPr>
          <a:xfrm>
            <a:off x="0" y="0"/>
            <a:ext cx="1487488" cy="674136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00C1F7-31B8-4DA5-B110-6F7993D0ECA0}"/>
              </a:ext>
            </a:extLst>
          </p:cNvPr>
          <p:cNvSpPr/>
          <p:nvPr/>
        </p:nvSpPr>
        <p:spPr>
          <a:xfrm>
            <a:off x="5097211" y="203578"/>
            <a:ext cx="6696220" cy="3005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fr-CH" sz="2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Objectifs généraux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CH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construire une identité reconnaissable à laquelle chacun adhérer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CH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renforcer les centralités et les espaces public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CH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maîtriser le trafic motorisé et favoriser la cohabitation des modes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CH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favoriser la nature en ville</a:t>
            </a:r>
          </a:p>
          <a:p>
            <a:pPr algn="just"/>
            <a:endParaRPr lang="fr-CH" sz="2400" baseline="30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/>
            <a:r>
              <a:rPr lang="fr-CH" sz="28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Fil rouge du PAL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CH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'appuyer sur les qualités naturelles, levier du développement durable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CH" sz="24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'appuyer sur les fonctions et espaces publics, supports d'une vie sociale riche</a:t>
            </a:r>
            <a:endParaRPr lang="fr-CH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5A1768F-A9A6-48FA-8B9E-6B88E740B173}"/>
              </a:ext>
            </a:extLst>
          </p:cNvPr>
          <p:cNvSpPr/>
          <p:nvPr/>
        </p:nvSpPr>
        <p:spPr>
          <a:xfrm>
            <a:off x="263352" y="203578"/>
            <a:ext cx="4824536" cy="22318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fr-CH" sz="2400" b="1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Enjeux</a:t>
            </a:r>
          </a:p>
          <a:p>
            <a:pPr marL="342900" indent="-34290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fr-CH" sz="2400" b="1" baseline="30000" dirty="0"/>
              <a:t>viser un développement cohérent et durable </a:t>
            </a:r>
            <a:br>
              <a:rPr lang="fr-CH" sz="2400" b="1" baseline="30000" dirty="0"/>
            </a:br>
            <a:r>
              <a:rPr lang="fr-CH" sz="2400" b="1" baseline="30000" dirty="0"/>
              <a:t>de Marly à l'horizon 2035 </a:t>
            </a:r>
          </a:p>
          <a:p>
            <a:pPr marL="342900" indent="-34290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fr-CH" sz="2400" b="1" baseline="30000" dirty="0"/>
              <a:t>considérer l'évolution du contexte marlinois </a:t>
            </a:r>
          </a:p>
          <a:p>
            <a:pPr marL="342900" indent="-342900" algn="l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fr-CH" sz="2400" b="1" baseline="30000" dirty="0"/>
              <a:t>traduire la vision du Conseil communal</a:t>
            </a:r>
            <a:endParaRPr lang="fr-CH" sz="3200" b="1" baseline="30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D5369C-C0D1-4FFB-9602-76C0B4DB01C4}"/>
              </a:ext>
            </a:extLst>
          </p:cNvPr>
          <p:cNvSpPr/>
          <p:nvPr/>
        </p:nvSpPr>
        <p:spPr>
          <a:xfrm>
            <a:off x="5977448" y="3618496"/>
            <a:ext cx="360040" cy="31199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3DEE3F61-F1D6-494E-9829-645C317A9A3C}"/>
              </a:ext>
            </a:extLst>
          </p:cNvPr>
          <p:cNvGrpSpPr/>
          <p:nvPr/>
        </p:nvGrpSpPr>
        <p:grpSpPr>
          <a:xfrm rot="16200000">
            <a:off x="10253376" y="1530731"/>
            <a:ext cx="3469356" cy="407893"/>
            <a:chOff x="6723370" y="2670851"/>
            <a:chExt cx="3469356" cy="4078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A4EE2B9-8DCC-462A-B648-90DF4998F63B}"/>
                </a:ext>
              </a:extLst>
            </p:cNvPr>
            <p:cNvSpPr/>
            <p:nvPr/>
          </p:nvSpPr>
          <p:spPr>
            <a:xfrm>
              <a:off x="7005051" y="2670857"/>
              <a:ext cx="2907373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3. Vision communale: </a:t>
              </a:r>
              <a:r>
                <a:rPr lang="fr-CH" sz="1600" dirty="0" err="1">
                  <a:solidFill>
                    <a:schemeClr val="tx1"/>
                  </a:solidFill>
                </a:rPr>
                <a:t>PDcom</a:t>
              </a:r>
              <a:endParaRPr lang="fr-CH" sz="16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20E1B6-0D08-4BDE-B6A7-33B3203E8D72}"/>
                </a:ext>
              </a:extLst>
            </p:cNvPr>
            <p:cNvSpPr/>
            <p:nvPr/>
          </p:nvSpPr>
          <p:spPr>
            <a:xfrm>
              <a:off x="9912424" y="267085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A37928-E061-4111-9E7A-6344DC680440}"/>
                </a:ext>
              </a:extLst>
            </p:cNvPr>
            <p:cNvSpPr/>
            <p:nvPr/>
          </p:nvSpPr>
          <p:spPr>
            <a:xfrm>
              <a:off x="10052575" y="267085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83211DB-578C-4146-87BE-4FF00D59309E}"/>
                </a:ext>
              </a:extLst>
            </p:cNvPr>
            <p:cNvSpPr/>
            <p:nvPr/>
          </p:nvSpPr>
          <p:spPr>
            <a:xfrm>
              <a:off x="6863521" y="267085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0DE8A21-B3C2-4E1D-A969-26E51BFF1116}"/>
                </a:ext>
              </a:extLst>
            </p:cNvPr>
            <p:cNvSpPr/>
            <p:nvPr/>
          </p:nvSpPr>
          <p:spPr>
            <a:xfrm>
              <a:off x="6723370" y="2670855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3662423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893300B-C22D-46FD-8645-84E870C95D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6</a:t>
            </a:fld>
            <a:endParaRPr lang="de-CH" altLang="fr-FR"/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1D298604-CDD8-438E-A6C9-D07F7C26D19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738171"/>
              </p:ext>
            </p:extLst>
          </p:nvPr>
        </p:nvGraphicFramePr>
        <p:xfrm>
          <a:off x="-168696" y="-1158"/>
          <a:ext cx="11064552" cy="68591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79" name="Acrobat Document" r:id="rId4" imgW="32670688" imgH="20250015" progId="AcroExch.Document.7">
                  <p:embed/>
                </p:oleObj>
              </mc:Choice>
              <mc:Fallback>
                <p:oleObj name="Acrobat Document" r:id="rId4" imgW="32670688" imgH="20250015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68696" y="-1158"/>
                        <a:ext cx="11064552" cy="68591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B08F948-9B4C-42D9-A60B-948C77EEDF6E}"/>
              </a:ext>
            </a:extLst>
          </p:cNvPr>
          <p:cNvSpPr/>
          <p:nvPr/>
        </p:nvSpPr>
        <p:spPr>
          <a:xfrm>
            <a:off x="-168696" y="0"/>
            <a:ext cx="2016224" cy="685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5273F-F96D-48C0-A784-FB31F3D9E849}"/>
              </a:ext>
            </a:extLst>
          </p:cNvPr>
          <p:cNvSpPr/>
          <p:nvPr/>
        </p:nvSpPr>
        <p:spPr>
          <a:xfrm>
            <a:off x="10704512" y="-1"/>
            <a:ext cx="1487488" cy="626953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0FFAD0-90F8-459F-B112-81BD5666C948}"/>
              </a:ext>
            </a:extLst>
          </p:cNvPr>
          <p:cNvSpPr/>
          <p:nvPr/>
        </p:nvSpPr>
        <p:spPr>
          <a:xfrm>
            <a:off x="0" y="-1"/>
            <a:ext cx="12192000" cy="40466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539858-DF75-4B3D-9D6E-8FBE59C3D06A}"/>
              </a:ext>
            </a:extLst>
          </p:cNvPr>
          <p:cNvSpPr/>
          <p:nvPr/>
        </p:nvSpPr>
        <p:spPr>
          <a:xfrm>
            <a:off x="-16296" y="334636"/>
            <a:ext cx="11800928" cy="294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15DF47B-B5DA-46B7-8B4B-460A3CCF6B3E}"/>
              </a:ext>
            </a:extLst>
          </p:cNvPr>
          <p:cNvSpPr/>
          <p:nvPr/>
        </p:nvSpPr>
        <p:spPr>
          <a:xfrm>
            <a:off x="192178" y="629589"/>
            <a:ext cx="4103622" cy="200732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18" name="Image 17" descr="Une image contenant table&#10;&#10;Description générée automatiquement">
            <a:extLst>
              <a:ext uri="{FF2B5EF4-FFF2-40B4-BE49-F238E27FC236}">
                <a16:creationId xmlns:a16="http://schemas.microsoft.com/office/drawing/2014/main" id="{E77897DA-3E78-4C60-9A73-6F5EF03088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826" y="644079"/>
            <a:ext cx="4056954" cy="1992833"/>
          </a:xfrm>
          <a:prstGeom prst="rect">
            <a:avLst/>
          </a:prstGeom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18A3FD70-68E0-4B8C-9086-E2A2AA990383}"/>
              </a:ext>
            </a:extLst>
          </p:cNvPr>
          <p:cNvGrpSpPr/>
          <p:nvPr/>
        </p:nvGrpSpPr>
        <p:grpSpPr>
          <a:xfrm rot="16200000">
            <a:off x="10253376" y="1530731"/>
            <a:ext cx="3469356" cy="407893"/>
            <a:chOff x="6723370" y="2670851"/>
            <a:chExt cx="3469356" cy="40789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A119269-A659-49C9-AFDE-E2C715E59B6B}"/>
                </a:ext>
              </a:extLst>
            </p:cNvPr>
            <p:cNvSpPr/>
            <p:nvPr/>
          </p:nvSpPr>
          <p:spPr>
            <a:xfrm>
              <a:off x="7005051" y="2670857"/>
              <a:ext cx="2907373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3. Vision communale: </a:t>
              </a:r>
              <a:r>
                <a:rPr lang="fr-CH" sz="1600" dirty="0" err="1">
                  <a:solidFill>
                    <a:schemeClr val="tx1"/>
                  </a:solidFill>
                </a:rPr>
                <a:t>PDcom</a:t>
              </a:r>
              <a:endParaRPr lang="fr-CH" sz="16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30F6EE4-B116-4A2E-95C5-C38497E3EF37}"/>
                </a:ext>
              </a:extLst>
            </p:cNvPr>
            <p:cNvSpPr/>
            <p:nvPr/>
          </p:nvSpPr>
          <p:spPr>
            <a:xfrm>
              <a:off x="9912424" y="267085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91DBDC9-5B67-41D4-A617-441534D3C95A}"/>
                </a:ext>
              </a:extLst>
            </p:cNvPr>
            <p:cNvSpPr/>
            <p:nvPr/>
          </p:nvSpPr>
          <p:spPr>
            <a:xfrm>
              <a:off x="10052575" y="267085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20E1DF9-102A-4815-AF3F-BAB93B3725C7}"/>
                </a:ext>
              </a:extLst>
            </p:cNvPr>
            <p:cNvSpPr/>
            <p:nvPr/>
          </p:nvSpPr>
          <p:spPr>
            <a:xfrm>
              <a:off x="6863521" y="267085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3CDC234-E66D-4DB4-A03B-7CF407919603}"/>
                </a:ext>
              </a:extLst>
            </p:cNvPr>
            <p:cNvSpPr/>
            <p:nvPr/>
          </p:nvSpPr>
          <p:spPr>
            <a:xfrm>
              <a:off x="6723370" y="2670855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24" name="Titel 46">
            <a:extLst>
              <a:ext uri="{FF2B5EF4-FFF2-40B4-BE49-F238E27FC236}">
                <a16:creationId xmlns:a16="http://schemas.microsoft.com/office/drawing/2014/main" id="{E84558B0-7A99-4A3F-ABC8-08754CBB41B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63352" y="384567"/>
            <a:ext cx="770485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1600" b="1" dirty="0"/>
              <a:t>Urbanisme</a:t>
            </a:r>
          </a:p>
        </p:txBody>
      </p:sp>
      <p:pic>
        <p:nvPicPr>
          <p:cNvPr id="22" name="Image 17" descr="Une image contenant table&#10;&#10;Description générée automatiquement">
            <a:extLst>
              <a:ext uri="{FF2B5EF4-FFF2-40B4-BE49-F238E27FC236}">
                <a16:creationId xmlns:a16="http://schemas.microsoft.com/office/drawing/2014/main" id="{6C2924DB-4683-449B-9565-0067521878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178" y="824075"/>
            <a:ext cx="11028678" cy="541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77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893300B-C22D-46FD-8645-84E870C95D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7</a:t>
            </a:fld>
            <a:endParaRPr lang="de-CH" altLang="fr-FR"/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1D298604-CDD8-438E-A6C9-D07F7C26D19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-168696" y="-1158"/>
          <a:ext cx="11064552" cy="68591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6" name="Acrobat Document" r:id="rId4" imgW="32670688" imgH="20250015" progId="AcroExch.Document.7">
                  <p:embed/>
                </p:oleObj>
              </mc:Choice>
              <mc:Fallback>
                <p:oleObj name="Acrobat Document" r:id="rId4" imgW="32670688" imgH="20250015" progId="AcroExch.Document.7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1D298604-CDD8-438E-A6C9-D07F7C26D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68696" y="-1158"/>
                        <a:ext cx="11064552" cy="68591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B08F948-9B4C-42D9-A60B-948C77EEDF6E}"/>
              </a:ext>
            </a:extLst>
          </p:cNvPr>
          <p:cNvSpPr/>
          <p:nvPr/>
        </p:nvSpPr>
        <p:spPr>
          <a:xfrm>
            <a:off x="-168696" y="0"/>
            <a:ext cx="2016224" cy="685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5273F-F96D-48C0-A784-FB31F3D9E849}"/>
              </a:ext>
            </a:extLst>
          </p:cNvPr>
          <p:cNvSpPr/>
          <p:nvPr/>
        </p:nvSpPr>
        <p:spPr>
          <a:xfrm>
            <a:off x="10704512" y="-1"/>
            <a:ext cx="1487488" cy="626953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0FFAD0-90F8-459F-B112-81BD5666C948}"/>
              </a:ext>
            </a:extLst>
          </p:cNvPr>
          <p:cNvSpPr/>
          <p:nvPr/>
        </p:nvSpPr>
        <p:spPr>
          <a:xfrm>
            <a:off x="0" y="-1"/>
            <a:ext cx="12192000" cy="40466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CC2EBE-DE48-418D-8E2B-9755138C48C2}"/>
              </a:ext>
            </a:extLst>
          </p:cNvPr>
          <p:cNvSpPr/>
          <p:nvPr/>
        </p:nvSpPr>
        <p:spPr>
          <a:xfrm>
            <a:off x="-16296" y="334636"/>
            <a:ext cx="11800928" cy="294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93B183B-15D8-44FA-95A3-790F1A92EDD1}"/>
              </a:ext>
            </a:extLst>
          </p:cNvPr>
          <p:cNvSpPr/>
          <p:nvPr/>
        </p:nvSpPr>
        <p:spPr>
          <a:xfrm>
            <a:off x="192178" y="629589"/>
            <a:ext cx="4103622" cy="215133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5" name="Image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FC345115-AA19-4BBB-A376-0A029DF526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272" y="679442"/>
            <a:ext cx="4030338" cy="2101486"/>
          </a:xfrm>
          <a:prstGeom prst="rect">
            <a:avLst/>
          </a:prstGeom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3AA5D184-9759-4E2B-AC5A-7B0C93A20DE6}"/>
              </a:ext>
            </a:extLst>
          </p:cNvPr>
          <p:cNvGrpSpPr/>
          <p:nvPr/>
        </p:nvGrpSpPr>
        <p:grpSpPr>
          <a:xfrm rot="16200000">
            <a:off x="10253376" y="1530731"/>
            <a:ext cx="3469356" cy="407893"/>
            <a:chOff x="6723370" y="2670851"/>
            <a:chExt cx="3469356" cy="40789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D6BA11E-EDE5-4C92-A235-580E3623ABFB}"/>
                </a:ext>
              </a:extLst>
            </p:cNvPr>
            <p:cNvSpPr/>
            <p:nvPr/>
          </p:nvSpPr>
          <p:spPr>
            <a:xfrm>
              <a:off x="7005051" y="2670857"/>
              <a:ext cx="2907373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3. Vision communale: </a:t>
              </a:r>
              <a:r>
                <a:rPr lang="fr-CH" sz="1600" dirty="0" err="1">
                  <a:solidFill>
                    <a:schemeClr val="tx1"/>
                  </a:solidFill>
                </a:rPr>
                <a:t>PDcom</a:t>
              </a:r>
              <a:endParaRPr lang="fr-CH"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364BB46-0893-44F6-9246-A47E4C0841DE}"/>
                </a:ext>
              </a:extLst>
            </p:cNvPr>
            <p:cNvSpPr/>
            <p:nvPr/>
          </p:nvSpPr>
          <p:spPr>
            <a:xfrm>
              <a:off x="9912424" y="267085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C68D798-1926-47EC-BDD0-B5FC57BBA546}"/>
                </a:ext>
              </a:extLst>
            </p:cNvPr>
            <p:cNvSpPr/>
            <p:nvPr/>
          </p:nvSpPr>
          <p:spPr>
            <a:xfrm>
              <a:off x="10052575" y="267085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82D6B79-45CE-4076-8B90-4D14A68BA229}"/>
                </a:ext>
              </a:extLst>
            </p:cNvPr>
            <p:cNvSpPr/>
            <p:nvPr/>
          </p:nvSpPr>
          <p:spPr>
            <a:xfrm>
              <a:off x="6863521" y="267085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9522DC-5612-4931-A32B-8655209A84FC}"/>
                </a:ext>
              </a:extLst>
            </p:cNvPr>
            <p:cNvSpPr/>
            <p:nvPr/>
          </p:nvSpPr>
          <p:spPr>
            <a:xfrm>
              <a:off x="6723370" y="2670855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22" name="Titel 46">
            <a:extLst>
              <a:ext uri="{FF2B5EF4-FFF2-40B4-BE49-F238E27FC236}">
                <a16:creationId xmlns:a16="http://schemas.microsoft.com/office/drawing/2014/main" id="{1A978E86-E126-4C8F-B8EF-6EA95E5BC265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63352" y="384567"/>
            <a:ext cx="770485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1600" b="1" dirty="0"/>
              <a:t>Mobilité</a:t>
            </a:r>
          </a:p>
        </p:txBody>
      </p:sp>
      <p:pic>
        <p:nvPicPr>
          <p:cNvPr id="21" name="Image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1E942166-61C4-4BA3-B967-E534AC4BD0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232" y="660324"/>
            <a:ext cx="11130635" cy="580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968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893300B-C22D-46FD-8645-84E870C95D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8</a:t>
            </a:fld>
            <a:endParaRPr lang="de-CH" altLang="fr-FR"/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1D298604-CDD8-438E-A6C9-D07F7C26D19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-168696" y="-1158"/>
          <a:ext cx="11064552" cy="68591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1" name="Acrobat Document" r:id="rId4" imgW="32670688" imgH="20250015" progId="AcroExch.Document.7">
                  <p:embed/>
                </p:oleObj>
              </mc:Choice>
              <mc:Fallback>
                <p:oleObj name="Acrobat Document" r:id="rId4" imgW="32670688" imgH="20250015" progId="AcroExch.Document.7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1D298604-CDD8-438E-A6C9-D07F7C26D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68696" y="-1158"/>
                        <a:ext cx="11064552" cy="68591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B08F948-9B4C-42D9-A60B-948C77EEDF6E}"/>
              </a:ext>
            </a:extLst>
          </p:cNvPr>
          <p:cNvSpPr/>
          <p:nvPr/>
        </p:nvSpPr>
        <p:spPr>
          <a:xfrm>
            <a:off x="-168696" y="0"/>
            <a:ext cx="2016224" cy="685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A35273F-F96D-48C0-A784-FB31F3D9E849}"/>
              </a:ext>
            </a:extLst>
          </p:cNvPr>
          <p:cNvSpPr/>
          <p:nvPr/>
        </p:nvSpPr>
        <p:spPr>
          <a:xfrm>
            <a:off x="10704512" y="-1"/>
            <a:ext cx="1487488" cy="626953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0FFAD0-90F8-459F-B112-81BD5666C948}"/>
              </a:ext>
            </a:extLst>
          </p:cNvPr>
          <p:cNvSpPr/>
          <p:nvPr/>
        </p:nvSpPr>
        <p:spPr>
          <a:xfrm>
            <a:off x="0" y="-1"/>
            <a:ext cx="12192000" cy="40466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155A8F-755F-42DF-9DD5-3E725C7FCA8F}"/>
              </a:ext>
            </a:extLst>
          </p:cNvPr>
          <p:cNvSpPr/>
          <p:nvPr/>
        </p:nvSpPr>
        <p:spPr>
          <a:xfrm>
            <a:off x="-3439" y="499462"/>
            <a:ext cx="11800928" cy="29495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333A31-93C9-45C6-80F2-B69185F9BB49}"/>
              </a:ext>
            </a:extLst>
          </p:cNvPr>
          <p:cNvSpPr/>
          <p:nvPr/>
        </p:nvSpPr>
        <p:spPr>
          <a:xfrm>
            <a:off x="192178" y="629589"/>
            <a:ext cx="4103622" cy="236736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5" name="Image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5E9E0FCF-EF3A-4552-A717-3CBCB83B06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919" y="673030"/>
            <a:ext cx="4076881" cy="2323922"/>
          </a:xfrm>
          <a:prstGeom prst="rect">
            <a:avLst/>
          </a:prstGeom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498E8C59-42BD-4474-8621-AB1B888FF197}"/>
              </a:ext>
            </a:extLst>
          </p:cNvPr>
          <p:cNvGrpSpPr/>
          <p:nvPr/>
        </p:nvGrpSpPr>
        <p:grpSpPr>
          <a:xfrm rot="16200000">
            <a:off x="10253376" y="1530731"/>
            <a:ext cx="3469356" cy="407893"/>
            <a:chOff x="6723370" y="2670851"/>
            <a:chExt cx="3469356" cy="40789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4615AF-82A1-4BAB-BACC-EC7D2686D661}"/>
                </a:ext>
              </a:extLst>
            </p:cNvPr>
            <p:cNvSpPr/>
            <p:nvPr/>
          </p:nvSpPr>
          <p:spPr>
            <a:xfrm>
              <a:off x="7005051" y="2670857"/>
              <a:ext cx="2907373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3. Vision communale: </a:t>
              </a:r>
              <a:r>
                <a:rPr lang="fr-CH" sz="1600" dirty="0" err="1">
                  <a:solidFill>
                    <a:schemeClr val="tx1"/>
                  </a:solidFill>
                </a:rPr>
                <a:t>PDcom</a:t>
              </a:r>
              <a:endParaRPr lang="fr-CH"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FF5EB64-16AD-4761-A2B2-8BCA66C4B6FB}"/>
                </a:ext>
              </a:extLst>
            </p:cNvPr>
            <p:cNvSpPr/>
            <p:nvPr/>
          </p:nvSpPr>
          <p:spPr>
            <a:xfrm>
              <a:off x="9912424" y="267085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081EEBF-9792-46A5-BEE7-B917209A6D14}"/>
                </a:ext>
              </a:extLst>
            </p:cNvPr>
            <p:cNvSpPr/>
            <p:nvPr/>
          </p:nvSpPr>
          <p:spPr>
            <a:xfrm>
              <a:off x="10052575" y="2670851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83C697E-2F96-499D-AC07-3540ABD150B2}"/>
                </a:ext>
              </a:extLst>
            </p:cNvPr>
            <p:cNvSpPr/>
            <p:nvPr/>
          </p:nvSpPr>
          <p:spPr>
            <a:xfrm>
              <a:off x="6863521" y="267085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A0AB7BC-50D8-4DD0-8888-0F6151CD270C}"/>
                </a:ext>
              </a:extLst>
            </p:cNvPr>
            <p:cNvSpPr/>
            <p:nvPr/>
          </p:nvSpPr>
          <p:spPr>
            <a:xfrm>
              <a:off x="6723370" y="2670855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22" name="Titel 46">
            <a:extLst>
              <a:ext uri="{FF2B5EF4-FFF2-40B4-BE49-F238E27FC236}">
                <a16:creationId xmlns:a16="http://schemas.microsoft.com/office/drawing/2014/main" id="{E00A60D3-7905-4C69-9449-1361DA31F16B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63352" y="384567"/>
            <a:ext cx="770485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1600" b="1" dirty="0"/>
              <a:t>Environnement et paysage</a:t>
            </a:r>
          </a:p>
        </p:txBody>
      </p:sp>
      <p:pic>
        <p:nvPicPr>
          <p:cNvPr id="21" name="Image 4" descr="Une image contenant table&#10;&#10;Description générée automatiquement">
            <a:extLst>
              <a:ext uri="{FF2B5EF4-FFF2-40B4-BE49-F238E27FC236}">
                <a16:creationId xmlns:a16="http://schemas.microsoft.com/office/drawing/2014/main" id="{BC7E0B8C-9FA9-4CA4-84BC-90B710164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30797" y="648303"/>
            <a:ext cx="11311373" cy="6111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503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CF6948-0B68-4A9C-8CA5-5ED0B2ECB49E}"/>
              </a:ext>
            </a:extLst>
          </p:cNvPr>
          <p:cNvSpPr/>
          <p:nvPr/>
        </p:nvSpPr>
        <p:spPr>
          <a:xfrm>
            <a:off x="701334" y="3932743"/>
            <a:ext cx="11019639" cy="237657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33EF5E6-A9CC-43DF-ABF2-88C46D9351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E29512-B6A7-46F5-9D8B-BBC9D5813600}" type="slidenum">
              <a:rPr lang="de-CH" altLang="fr-FR" smtClean="0"/>
              <a:pPr/>
              <a:t>9</a:t>
            </a:fld>
            <a:endParaRPr lang="de-CH" altLang="fr-FR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6DB3601-0BD0-4823-AA24-B1A4466530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b="2208"/>
          <a:stretch/>
        </p:blipFill>
        <p:spPr>
          <a:xfrm>
            <a:off x="471027" y="427592"/>
            <a:ext cx="5291026" cy="6115141"/>
          </a:xfrm>
          <a:prstGeom prst="rect">
            <a:avLst/>
          </a:prstGeom>
        </p:spPr>
      </p:pic>
      <p:sp>
        <p:nvSpPr>
          <p:cNvPr id="7" name="Titel 46">
            <a:extLst>
              <a:ext uri="{FF2B5EF4-FFF2-40B4-BE49-F238E27FC236}">
                <a16:creationId xmlns:a16="http://schemas.microsoft.com/office/drawing/2014/main" id="{923D8F92-170D-48F0-9ECE-CAAAD247BA0E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559496" y="-71263"/>
            <a:ext cx="5278523" cy="45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l"/>
            <a:r>
              <a:rPr lang="fr-CH" altLang="fr-FR" sz="2954" b="1" dirty="0"/>
              <a:t>Modifications PAZ - RCU</a:t>
            </a:r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EF707C6B-CAF0-4498-A49A-A956AB9F86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9225" y="474028"/>
            <a:ext cx="4584576" cy="6115141"/>
          </a:xfrm>
          <a:prstGeom prst="rect">
            <a:avLst/>
          </a:prstGeom>
        </p:spPr>
      </p:pic>
      <p:grpSp>
        <p:nvGrpSpPr>
          <p:cNvPr id="10" name="Groupe 9">
            <a:extLst>
              <a:ext uri="{FF2B5EF4-FFF2-40B4-BE49-F238E27FC236}">
                <a16:creationId xmlns:a16="http://schemas.microsoft.com/office/drawing/2014/main" id="{12934007-260B-4253-A268-BA1EC644F76B}"/>
              </a:ext>
            </a:extLst>
          </p:cNvPr>
          <p:cNvGrpSpPr/>
          <p:nvPr/>
        </p:nvGrpSpPr>
        <p:grpSpPr>
          <a:xfrm rot="16200000">
            <a:off x="10905096" y="879015"/>
            <a:ext cx="2165919" cy="407890"/>
            <a:chOff x="6654790" y="3257324"/>
            <a:chExt cx="2165919" cy="40789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196FDD2-0FA1-46A8-A7EA-ADBF9526F1BA}"/>
                </a:ext>
              </a:extLst>
            </p:cNvPr>
            <p:cNvSpPr/>
            <p:nvPr/>
          </p:nvSpPr>
          <p:spPr>
            <a:xfrm>
              <a:off x="6794941" y="3257326"/>
              <a:ext cx="1605315" cy="4078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1600" dirty="0">
                  <a:solidFill>
                    <a:schemeClr val="tx1"/>
                  </a:solidFill>
                </a:rPr>
                <a:t>4. PAZ et RCU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CD51EFF-560B-4FFD-93DD-F3D9220913F2}"/>
                </a:ext>
              </a:extLst>
            </p:cNvPr>
            <p:cNvSpPr/>
            <p:nvPr/>
          </p:nvSpPr>
          <p:spPr>
            <a:xfrm>
              <a:off x="8680558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230BCA9-6C12-412A-9B20-33D3A9D3FA0E}"/>
                </a:ext>
              </a:extLst>
            </p:cNvPr>
            <p:cNvSpPr/>
            <p:nvPr/>
          </p:nvSpPr>
          <p:spPr>
            <a:xfrm>
              <a:off x="8540407" y="3257326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336B8D0-8593-4A35-85C5-75CBC357D21F}"/>
                </a:ext>
              </a:extLst>
            </p:cNvPr>
            <p:cNvSpPr/>
            <p:nvPr/>
          </p:nvSpPr>
          <p:spPr>
            <a:xfrm>
              <a:off x="8400256" y="3257327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42F0662-5EB9-4823-8A81-100E819C6436}"/>
                </a:ext>
              </a:extLst>
            </p:cNvPr>
            <p:cNvSpPr/>
            <p:nvPr/>
          </p:nvSpPr>
          <p:spPr>
            <a:xfrm>
              <a:off x="6654790" y="3257324"/>
              <a:ext cx="140151" cy="407887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31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</p:spTree>
    <p:extLst>
      <p:ext uri="{BB962C8B-B14F-4D97-AF65-F5344CB8AC3E}">
        <p14:creationId xmlns:p14="http://schemas.microsoft.com/office/powerpoint/2010/main" val="1051651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v0fBMaUuxa74eRa4j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BSDtWNGUeyxIGroy_9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87aGZWIUCaaeiV22HR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g.GGhqoUCwXSH9u6l9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DiLt0FaEuftrz9WwK_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jvHJV7UK1sfll4.DE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QDMF8lrkCvWzV4OQA_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HzLabt0OJp5YqsvL3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HzLabt0OJp5YqsvL3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r2fczChEKK.CI.oth8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MQ5VtN0OaU7sBKhdT7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IBl5Da0E6pDRIAkBa2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v0fBMaUuxa74eRa4j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BSDtWNGUeyxIGroy_9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Np4XZlUkmv42PBCZla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r2fczChEKK.CI.oth8xw"/>
</p:tagLst>
</file>

<file path=ppt/theme/theme1.xml><?xml version="1.0" encoding="utf-8"?>
<a:theme xmlns:a="http://schemas.openxmlformats.org/drawingml/2006/main" name="Présentation PAL Fribourg">
  <a:themeElements>
    <a:clrScheme name="FDP_Powerpointvorlage_DE_4_logos 1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FFFFFF"/>
      </a:accent3>
      <a:accent4>
        <a:srgbClr val="00000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lnSpc>
            <a:spcPts val="1900"/>
          </a:lnSpc>
          <a:spcAft>
            <a:spcPts val="600"/>
          </a:spcAft>
          <a:buClr>
            <a:srgbClr val="074EA1"/>
          </a:buClr>
          <a:defRPr sz="40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ésentation PAL Fribourg</Template>
  <TotalTime>0</TotalTime>
  <Words>349</Words>
  <Application>Microsoft Office PowerPoint</Application>
  <PresentationFormat>Grand écran</PresentationFormat>
  <Paragraphs>91</Paragraphs>
  <Slides>18</Slides>
  <Notes>8</Notes>
  <HiddenSlides>1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27" baseType="lpstr">
      <vt:lpstr>ＭＳ Ｐゴシック</vt:lpstr>
      <vt:lpstr>Arial</vt:lpstr>
      <vt:lpstr>Arial Black</vt:lpstr>
      <vt:lpstr>Calibri</vt:lpstr>
      <vt:lpstr>Lucida Grande</vt:lpstr>
      <vt:lpstr>Wingdings</vt:lpstr>
      <vt:lpstr>Présentation PAL Fribourg</vt:lpstr>
      <vt:lpstr>think-cell Slide</vt:lpstr>
      <vt:lpstr>Acrobat Document</vt:lpstr>
      <vt:lpstr>Présentation PowerPoint</vt:lpstr>
      <vt:lpstr>Présentation PowerPoint</vt:lpstr>
      <vt:lpstr>Etapes de la révision —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Mise à l’enquête</vt:lpstr>
      <vt:lpstr>Présentation PowerPoint</vt:lpstr>
      <vt:lpstr>Présentation PowerPoint</vt:lpstr>
      <vt:lpstr>Présentation PowerPoint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 d'aménagement local (PAL) Fribourg Préavis de synthèse d’examen préalable —</dc:title>
  <dc:creator>Favre Emmanuelle</dc:creator>
  <cp:lastModifiedBy>Bozier Martine</cp:lastModifiedBy>
  <cp:revision>219</cp:revision>
  <cp:lastPrinted>2020-10-08T14:31:46Z</cp:lastPrinted>
  <dcterms:created xsi:type="dcterms:W3CDTF">2016-09-26T07:14:29Z</dcterms:created>
  <dcterms:modified xsi:type="dcterms:W3CDTF">2020-10-30T13:46:37Z</dcterms:modified>
</cp:coreProperties>
</file>